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33"/>
  </p:notesMasterIdLst>
  <p:sldIdLst>
    <p:sldId id="2145721170" r:id="rId6"/>
    <p:sldId id="2145720965" r:id="rId7"/>
    <p:sldId id="2145720959" r:id="rId8"/>
    <p:sldId id="2145721120" r:id="rId9"/>
    <p:sldId id="2088197896" r:id="rId10"/>
    <p:sldId id="386" r:id="rId11"/>
    <p:sldId id="400" r:id="rId12"/>
    <p:sldId id="2145721153" r:id="rId13"/>
    <p:sldId id="2145721159" r:id="rId14"/>
    <p:sldId id="2145721160" r:id="rId15"/>
    <p:sldId id="2145721158" r:id="rId16"/>
    <p:sldId id="2145721140" r:id="rId17"/>
    <p:sldId id="2145720966" r:id="rId18"/>
    <p:sldId id="2145720870" r:id="rId19"/>
    <p:sldId id="2145721156" r:id="rId20"/>
    <p:sldId id="2134960105" r:id="rId21"/>
    <p:sldId id="2145720869" r:id="rId22"/>
    <p:sldId id="2145721154" r:id="rId23"/>
    <p:sldId id="2145721157" r:id="rId24"/>
    <p:sldId id="2145720968" r:id="rId25"/>
    <p:sldId id="2145720962" r:id="rId26"/>
    <p:sldId id="2145721145" r:id="rId27"/>
    <p:sldId id="336" r:id="rId28"/>
    <p:sldId id="2088197898" r:id="rId29"/>
    <p:sldId id="589" r:id="rId30"/>
    <p:sldId id="2145721171" r:id="rId31"/>
    <p:sldId id="474"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4871B3B-AFF5-4249-BE1A-5D3ED1A8B1B5}">
          <p14:sldIdLst>
            <p14:sldId id="2145721170"/>
            <p14:sldId id="2145720965"/>
            <p14:sldId id="2145720959"/>
            <p14:sldId id="2145721120"/>
            <p14:sldId id="2088197896"/>
            <p14:sldId id="386"/>
            <p14:sldId id="400"/>
            <p14:sldId id="2145721153"/>
            <p14:sldId id="2145721159"/>
            <p14:sldId id="2145721160"/>
            <p14:sldId id="2145721158"/>
            <p14:sldId id="2145721140"/>
            <p14:sldId id="2145720966"/>
            <p14:sldId id="2145720870"/>
            <p14:sldId id="2145721156"/>
            <p14:sldId id="2134960105"/>
            <p14:sldId id="2145720869"/>
            <p14:sldId id="2145721154"/>
            <p14:sldId id="2145721157"/>
            <p14:sldId id="2145720968"/>
            <p14:sldId id="2145720962"/>
            <p14:sldId id="2145721145"/>
            <p14:sldId id="336"/>
            <p14:sldId id="2088197898"/>
            <p14:sldId id="589"/>
            <p14:sldId id="2145721171"/>
            <p14:sldId id="474"/>
          </p14:sldIdLst>
        </p14:section>
        <p14:section name="Appendix" id="{817D159E-289C-443C-99C9-3159950CDC08}">
          <p14:sldIdLst/>
        </p14:section>
      </p14:sectionLst>
    </p:ext>
    <p:ext uri="{EFAFB233-063F-42B5-8137-9DF3F51BA10A}">
      <p15:sldGuideLst xmlns:p15="http://schemas.microsoft.com/office/powerpoint/2012/main">
        <p15:guide id="1" orient="horz" pos="2136"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CE8376-CFE5-F77A-86FA-DE7EFCAAE2CC}" name="Bentley, Daniel M - Washington, DC" initials="BDMWD" userId="S::Daniel.M.Bentley@usps.gov::41775530-1065-4456-a16a-0f33a3002b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bigail" initials="A" lastIdx="30" clrIdx="0">
    <p:extLst>
      <p:ext uri="{19B8F6BF-5375-455C-9EA6-DF929625EA0E}">
        <p15:presenceInfo xmlns:p15="http://schemas.microsoft.com/office/powerpoint/2012/main" userId="S::Abigail.K.Healy@usps.gov::92d7fba7-56ec-4101-b35f-67c45e9cd8c1" providerId="AD"/>
      </p:ext>
    </p:extLst>
  </p:cmAuthor>
  <p:cmAuthor id="2" name="Belt, David C - Washington, DC" initials="BDC-WD" lastIdx="1" clrIdx="1">
    <p:extLst>
      <p:ext uri="{19B8F6BF-5375-455C-9EA6-DF929625EA0E}">
        <p15:presenceInfo xmlns:p15="http://schemas.microsoft.com/office/powerpoint/2012/main" userId="Belt, David C - Washington, DC" providerId="None"/>
      </p:ext>
    </p:extLst>
  </p:cmAuthor>
  <p:cmAuthor id="3" name="Belt, David C - Washington, DC" initials="BDC-WD [2]" lastIdx="1" clrIdx="2">
    <p:extLst>
      <p:ext uri="{19B8F6BF-5375-455C-9EA6-DF929625EA0E}">
        <p15:presenceInfo xmlns:p15="http://schemas.microsoft.com/office/powerpoint/2012/main" userId="S::David.C.Belt@usps.gov::831e8924-a93c-4aae-a5f4-61bcb52e0f87" providerId="AD"/>
      </p:ext>
    </p:extLst>
  </p:cmAuthor>
  <p:cmAuthor id="4" name="Hensley, William H - Washington, DC" initials="HWHWD" lastIdx="1" clrIdx="3">
    <p:extLst>
      <p:ext uri="{19B8F6BF-5375-455C-9EA6-DF929625EA0E}">
        <p15:presenceInfo xmlns:p15="http://schemas.microsoft.com/office/powerpoint/2012/main" userId="S::William.H.Hensley@usps.gov::1f425859-a074-4cef-b1f6-af07a93c3799" providerId="AD"/>
      </p:ext>
    </p:extLst>
  </p:cmAuthor>
  <p:cmAuthor id="5" name="Matyas, Emily A - Washington, DC" initials="MEAWD" lastIdx="1" clrIdx="4">
    <p:extLst>
      <p:ext uri="{19B8F6BF-5375-455C-9EA6-DF929625EA0E}">
        <p15:presenceInfo xmlns:p15="http://schemas.microsoft.com/office/powerpoint/2012/main" userId="S::Emily.A.Matyas@usps.gov::80818604-56b5-4642-822e-4fa004c865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F4E79"/>
    <a:srgbClr val="000099"/>
    <a:srgbClr val="304E96"/>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29" autoAdjust="0"/>
    <p:restoredTop sz="79055" autoAdjust="0"/>
  </p:normalViewPr>
  <p:slideViewPr>
    <p:cSldViewPr snapToGrid="0">
      <p:cViewPr varScale="1">
        <p:scale>
          <a:sx n="68" d="100"/>
          <a:sy n="68" d="100"/>
        </p:scale>
        <p:origin x="1440" y="53"/>
      </p:cViewPr>
      <p:guideLst>
        <p:guide orient="horz" pos="2136"/>
        <p:guide pos="3840"/>
      </p:guideLst>
    </p:cSldViewPr>
  </p:slideViewPr>
  <p:outlineViewPr>
    <p:cViewPr>
      <p:scale>
        <a:sx n="33" d="100"/>
        <a:sy n="33" d="100"/>
      </p:scale>
      <p:origin x="0" y="-5820"/>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98" d="100"/>
          <a:sy n="98" d="100"/>
        </p:scale>
        <p:origin x="1556" y="-120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D73F2E-7A4E-465D-B806-34FF4F618BA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36ED17C0-7158-43E1-8D72-1B40404C3562}">
      <dgm:prSet phldrT="[Text]" custT="1"/>
      <dgm:spPr/>
      <dgm:t>
        <a:bodyPr/>
        <a:lstStyle/>
        <a:p>
          <a:r>
            <a:rPr lang="en-US" sz="2000" b="1" dirty="0"/>
            <a:t>Director of Election &amp; Government Mail Services</a:t>
          </a:r>
        </a:p>
        <a:p>
          <a:r>
            <a:rPr lang="en-US" sz="2000" b="1" dirty="0"/>
            <a:t>Adrienne Marshall</a:t>
          </a:r>
        </a:p>
      </dgm:t>
    </dgm:pt>
    <dgm:pt modelId="{2127B6D5-4DFE-4A34-9C02-75F6D792FD35}" type="parTrans" cxnId="{9AA3ACF0-7234-4E3A-BC7D-5D8D8C9211CB}">
      <dgm:prSet/>
      <dgm:spPr/>
      <dgm:t>
        <a:bodyPr/>
        <a:lstStyle/>
        <a:p>
          <a:endParaRPr lang="en-US"/>
        </a:p>
      </dgm:t>
    </dgm:pt>
    <dgm:pt modelId="{8A64FE65-BF23-441B-9626-952BDD39C45D}" type="sibTrans" cxnId="{9AA3ACF0-7234-4E3A-BC7D-5D8D8C9211CB}">
      <dgm:prSet/>
      <dgm:spPr/>
      <dgm:t>
        <a:bodyPr/>
        <a:lstStyle/>
        <a:p>
          <a:endParaRPr lang="en-US"/>
        </a:p>
      </dgm:t>
    </dgm:pt>
    <dgm:pt modelId="{FC8110C8-33EA-4EE5-9A89-E68848697EA4}">
      <dgm:prSet phldrT="[Tex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Jerod Siddle</a:t>
          </a:r>
        </a:p>
      </dgm:t>
    </dgm:pt>
    <dgm:pt modelId="{FCEEE48C-ADF7-4172-B174-D2CDC6E4528C}" type="parTrans" cxnId="{3A80F259-21B4-40FB-A469-68B240ACF140}">
      <dgm:prSet/>
      <dgm:spPr/>
      <dgm:t>
        <a:bodyPr/>
        <a:lstStyle/>
        <a:p>
          <a:endParaRPr lang="en-US"/>
        </a:p>
      </dgm:t>
    </dgm:pt>
    <dgm:pt modelId="{316FC144-9F91-4215-B191-F163E4BD0119}" type="sibTrans" cxnId="{3A80F259-21B4-40FB-A469-68B240ACF140}">
      <dgm:prSet/>
      <dgm:spPr/>
      <dgm:t>
        <a:bodyPr/>
        <a:lstStyle/>
        <a:p>
          <a:endParaRPr lang="en-US"/>
        </a:p>
      </dgm:t>
    </dgm:pt>
    <dgm:pt modelId="{5DA89A75-ECF7-46D3-BCCC-B159ADCB8125}">
      <dgm:prSe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Daniel A. Garcia</a:t>
          </a:r>
        </a:p>
      </dgm:t>
    </dgm:pt>
    <dgm:pt modelId="{4B5EE325-DB0F-4F86-864B-64A6D3A7B223}" type="parTrans" cxnId="{4DF41772-402B-4C2F-BA7C-4994A5D1FACD}">
      <dgm:prSet/>
      <dgm:spPr/>
      <dgm:t>
        <a:bodyPr/>
        <a:lstStyle/>
        <a:p>
          <a:endParaRPr lang="en-US"/>
        </a:p>
      </dgm:t>
    </dgm:pt>
    <dgm:pt modelId="{8259E23B-860A-4947-BE2C-E214569E6A39}" type="sibTrans" cxnId="{4DF41772-402B-4C2F-BA7C-4994A5D1FACD}">
      <dgm:prSet/>
      <dgm:spPr/>
      <dgm:t>
        <a:bodyPr/>
        <a:lstStyle/>
        <a:p>
          <a:endParaRPr lang="en-US"/>
        </a:p>
      </dgm:t>
    </dgm:pt>
    <dgm:pt modelId="{9E852E2F-1642-47A4-8A5F-000D143C4569}">
      <dgm:prSet custT="1"/>
      <dgm:spPr/>
      <dgm:t>
        <a:bodyPr/>
        <a:lstStyle/>
        <a:p>
          <a:pPr>
            <a:lnSpc>
              <a:spcPct val="100000"/>
            </a:lnSpc>
            <a:spcAft>
              <a:spcPts val="600"/>
            </a:spcAft>
          </a:pPr>
          <a:r>
            <a:rPr lang="en-US" sz="900" b="1" dirty="0"/>
            <a:t>Election &amp; Govt. Mail Specialist</a:t>
          </a:r>
        </a:p>
        <a:p>
          <a:pPr>
            <a:lnSpc>
              <a:spcPct val="100000"/>
            </a:lnSpc>
            <a:spcAft>
              <a:spcPts val="600"/>
            </a:spcAft>
          </a:pPr>
          <a:r>
            <a:rPr lang="en-US" sz="1400" b="1" dirty="0"/>
            <a:t>Steven J. Carter</a:t>
          </a:r>
        </a:p>
      </dgm:t>
    </dgm:pt>
    <dgm:pt modelId="{7568E3F2-57AE-4D11-8FCF-30726AA4B562}" type="parTrans" cxnId="{3916B4E8-2E37-4EB2-9D4A-1D68995EDDBB}">
      <dgm:prSet/>
      <dgm:spPr/>
      <dgm:t>
        <a:bodyPr/>
        <a:lstStyle/>
        <a:p>
          <a:endParaRPr lang="en-US"/>
        </a:p>
      </dgm:t>
    </dgm:pt>
    <dgm:pt modelId="{FC8520D5-89DA-4B03-9FF3-000B9376D2FA}" type="sibTrans" cxnId="{3916B4E8-2E37-4EB2-9D4A-1D68995EDDBB}">
      <dgm:prSet/>
      <dgm:spPr/>
      <dgm:t>
        <a:bodyPr/>
        <a:lstStyle/>
        <a:p>
          <a:endParaRPr lang="en-US"/>
        </a:p>
      </dgm:t>
    </dgm:pt>
    <dgm:pt modelId="{8B178FAE-996A-4A69-BA70-8F29D52FA9AA}">
      <dgm:prSet custT="1"/>
      <dgm:spPr/>
      <dgm:t>
        <a:bodyPr/>
        <a:lstStyle/>
        <a:p>
          <a:r>
            <a:rPr lang="en-US" sz="900" b="1" dirty="0"/>
            <a:t>Election &amp; Govt. Mail Specialist</a:t>
          </a:r>
        </a:p>
        <a:p>
          <a:r>
            <a:rPr lang="en-US" sz="1400" b="1" dirty="0"/>
            <a:t>Tiffany Todd</a:t>
          </a:r>
        </a:p>
      </dgm:t>
    </dgm:pt>
    <dgm:pt modelId="{0131B393-6CB6-429D-ACFD-F78AC731E809}" type="parTrans" cxnId="{0ABD3EE9-A870-48BD-9267-2C3286A0C588}">
      <dgm:prSet/>
      <dgm:spPr/>
      <dgm:t>
        <a:bodyPr/>
        <a:lstStyle/>
        <a:p>
          <a:endParaRPr lang="en-US"/>
        </a:p>
      </dgm:t>
    </dgm:pt>
    <dgm:pt modelId="{0FC3E0DF-0B44-40B3-98DF-816DEDD04EA1}" type="sibTrans" cxnId="{0ABD3EE9-A870-48BD-9267-2C3286A0C588}">
      <dgm:prSet/>
      <dgm:spPr/>
      <dgm:t>
        <a:bodyPr/>
        <a:lstStyle/>
        <a:p>
          <a:endParaRPr lang="en-US"/>
        </a:p>
      </dgm:t>
    </dgm:pt>
    <dgm:pt modelId="{BB1EEBC1-F35E-4BCF-8D49-48E1D4950200}">
      <dgm:prSet custT="1"/>
      <dgm:spPr/>
      <dgm:t>
        <a:bodyPr/>
        <a:lstStyle/>
        <a:p>
          <a:r>
            <a:rPr lang="en-US" sz="900" b="1" dirty="0"/>
            <a:t>Election and Govt. Mail Specialist</a:t>
          </a:r>
        </a:p>
        <a:p>
          <a:r>
            <a:rPr lang="en-US" sz="1400" b="1" dirty="0"/>
            <a:t>Emily Matyas</a:t>
          </a:r>
        </a:p>
      </dgm:t>
    </dgm:pt>
    <dgm:pt modelId="{26B4A41F-22A5-4C9A-802D-655141E54851}" type="parTrans" cxnId="{AD9EC6B5-6891-4C30-AB70-5F5B521CAAD8}">
      <dgm:prSet/>
      <dgm:spPr/>
      <dgm:t>
        <a:bodyPr/>
        <a:lstStyle/>
        <a:p>
          <a:endParaRPr lang="en-US"/>
        </a:p>
      </dgm:t>
    </dgm:pt>
    <dgm:pt modelId="{1D65DE1A-9A3F-477F-A937-723B565499BC}" type="sibTrans" cxnId="{AD9EC6B5-6891-4C30-AB70-5F5B521CAAD8}">
      <dgm:prSet/>
      <dgm:spPr/>
      <dgm:t>
        <a:bodyPr/>
        <a:lstStyle/>
        <a:p>
          <a:endParaRPr lang="en-US"/>
        </a:p>
      </dgm:t>
    </dgm:pt>
    <dgm:pt modelId="{2FD693F9-E1FE-4F74-951A-3AF0AE87EF2C}">
      <dgm:prSet custT="1"/>
      <dgm:spPr/>
      <dgm:t>
        <a:bodyPr/>
        <a:lstStyle/>
        <a:p>
          <a:r>
            <a:rPr lang="en-US" sz="900" b="1" dirty="0"/>
            <a:t>Election and Govt. Mail Specialist</a:t>
          </a:r>
        </a:p>
        <a:p>
          <a:r>
            <a:rPr lang="en-US" sz="1400" b="1" dirty="0"/>
            <a:t>Vacant</a:t>
          </a:r>
        </a:p>
      </dgm:t>
    </dgm:pt>
    <dgm:pt modelId="{719ABBB9-FEF1-44D9-9124-152F02C47A92}" type="parTrans" cxnId="{8116CAA1-F160-435D-95B7-EA7724F5F48E}">
      <dgm:prSet/>
      <dgm:spPr/>
      <dgm:t>
        <a:bodyPr/>
        <a:lstStyle/>
        <a:p>
          <a:endParaRPr lang="en-US"/>
        </a:p>
      </dgm:t>
    </dgm:pt>
    <dgm:pt modelId="{BE052FEA-6454-44AD-86C9-11D2C184D37E}" type="sibTrans" cxnId="{8116CAA1-F160-435D-95B7-EA7724F5F48E}">
      <dgm:prSet/>
      <dgm:spPr/>
      <dgm:t>
        <a:bodyPr/>
        <a:lstStyle/>
        <a:p>
          <a:endParaRPr lang="en-US"/>
        </a:p>
      </dgm:t>
    </dgm:pt>
    <dgm:pt modelId="{EE409C06-05A0-4732-8914-412EF2D7DEDC}">
      <dgm:prSet phldrT="[Text]" custT="1"/>
      <dgm:spPr/>
      <dgm:t>
        <a:bodyPr/>
        <a:lstStyle/>
        <a:p>
          <a:pPr>
            <a:lnSpc>
              <a:spcPct val="100000"/>
            </a:lnSpc>
          </a:pPr>
          <a:r>
            <a:rPr lang="en-US" sz="900" b="1" dirty="0"/>
            <a:t>Manager, Policy &amp; Strategy</a:t>
          </a:r>
        </a:p>
        <a:p>
          <a:pPr>
            <a:lnSpc>
              <a:spcPct val="100000"/>
            </a:lnSpc>
          </a:pPr>
          <a:r>
            <a:rPr lang="en-US" sz="1400" b="1" dirty="0"/>
            <a:t>Dan Bentley</a:t>
          </a:r>
        </a:p>
      </dgm:t>
    </dgm:pt>
    <dgm:pt modelId="{15BE79A9-A344-4C17-9228-193F742D988B}" type="sibTrans" cxnId="{DDCFC16C-BAF6-481D-AA5F-E0A84A086947}">
      <dgm:prSet/>
      <dgm:spPr/>
      <dgm:t>
        <a:bodyPr/>
        <a:lstStyle/>
        <a:p>
          <a:endParaRPr lang="en-US"/>
        </a:p>
      </dgm:t>
    </dgm:pt>
    <dgm:pt modelId="{D64E3B0A-0012-4B1C-ADA9-A81D1F736BA8}" type="parTrans" cxnId="{DDCFC16C-BAF6-481D-AA5F-E0A84A086947}">
      <dgm:prSet/>
      <dgm:spPr/>
      <dgm:t>
        <a:bodyPr/>
        <a:lstStyle/>
        <a:p>
          <a:endParaRPr lang="en-US"/>
        </a:p>
      </dgm:t>
    </dgm:pt>
    <dgm:pt modelId="{528144C0-1C85-463B-A1ED-9EE95B2757E4}">
      <dgm:prSet phldrT="[Text]" custT="1"/>
      <dgm:spPr/>
      <dgm:t>
        <a:bodyPr/>
        <a:lstStyle/>
        <a:p>
          <a:pPr>
            <a:lnSpc>
              <a:spcPct val="100000"/>
            </a:lnSpc>
            <a:spcAft>
              <a:spcPts val="600"/>
            </a:spcAft>
          </a:pPr>
          <a:endParaRPr lang="en-US" sz="900" b="1" dirty="0"/>
        </a:p>
        <a:p>
          <a:pPr>
            <a:lnSpc>
              <a:spcPct val="100000"/>
            </a:lnSpc>
            <a:spcAft>
              <a:spcPts val="600"/>
            </a:spcAft>
          </a:pPr>
          <a:r>
            <a:rPr lang="en-US" sz="900" b="1" dirty="0"/>
            <a:t>Election &amp; Govt. Mail Specialist</a:t>
          </a:r>
        </a:p>
        <a:p>
          <a:pPr>
            <a:lnSpc>
              <a:spcPct val="100000"/>
            </a:lnSpc>
            <a:spcAft>
              <a:spcPts val="600"/>
            </a:spcAft>
          </a:pPr>
          <a:r>
            <a:rPr lang="en-US" sz="1400" b="1" dirty="0"/>
            <a:t>Lisa Del Rio</a:t>
          </a:r>
        </a:p>
        <a:p>
          <a:pPr>
            <a:lnSpc>
              <a:spcPct val="100000"/>
            </a:lnSpc>
            <a:spcAft>
              <a:spcPts val="600"/>
            </a:spcAft>
          </a:pPr>
          <a:endParaRPr lang="en-US" sz="900" b="1" dirty="0"/>
        </a:p>
      </dgm:t>
    </dgm:pt>
    <dgm:pt modelId="{D182197C-A51F-4B41-936F-4E88F09C5BA7}" type="sibTrans" cxnId="{7CB029A9-8701-4C22-9DEB-99624D17EC2E}">
      <dgm:prSet/>
      <dgm:spPr/>
      <dgm:t>
        <a:bodyPr/>
        <a:lstStyle/>
        <a:p>
          <a:endParaRPr lang="en-US"/>
        </a:p>
      </dgm:t>
    </dgm:pt>
    <dgm:pt modelId="{2CA6F6DA-63F0-4AD5-97C6-482A9189785B}" type="parTrans" cxnId="{7CB029A9-8701-4C22-9DEB-99624D17EC2E}">
      <dgm:prSet/>
      <dgm:spPr/>
      <dgm:t>
        <a:bodyPr/>
        <a:lstStyle/>
        <a:p>
          <a:endParaRPr lang="en-US"/>
        </a:p>
      </dgm:t>
    </dgm:pt>
    <dgm:pt modelId="{488277FB-6438-4899-82B2-5171A01417BA}" type="pres">
      <dgm:prSet presAssocID="{81D73F2E-7A4E-465D-B806-34FF4F618BAB}" presName="hierChild1" presStyleCnt="0">
        <dgm:presLayoutVars>
          <dgm:orgChart val="1"/>
          <dgm:chPref val="1"/>
          <dgm:dir/>
          <dgm:animOne val="branch"/>
          <dgm:animLvl val="lvl"/>
          <dgm:resizeHandles/>
        </dgm:presLayoutVars>
      </dgm:prSet>
      <dgm:spPr/>
    </dgm:pt>
    <dgm:pt modelId="{87FF0002-573A-4D37-8A74-96361727DB2E}" type="pres">
      <dgm:prSet presAssocID="{36ED17C0-7158-43E1-8D72-1B40404C3562}" presName="hierRoot1" presStyleCnt="0">
        <dgm:presLayoutVars>
          <dgm:hierBranch val="init"/>
        </dgm:presLayoutVars>
      </dgm:prSet>
      <dgm:spPr/>
    </dgm:pt>
    <dgm:pt modelId="{A25056F3-428A-40B5-8CF1-E6A62429C673}" type="pres">
      <dgm:prSet presAssocID="{36ED17C0-7158-43E1-8D72-1B40404C3562}" presName="rootComposite1" presStyleCnt="0"/>
      <dgm:spPr/>
    </dgm:pt>
    <dgm:pt modelId="{BF6294B0-4B20-4A4E-82F3-2D8E22A7FC20}" type="pres">
      <dgm:prSet presAssocID="{36ED17C0-7158-43E1-8D72-1B40404C3562}" presName="rootText1" presStyleLbl="node0" presStyleIdx="0" presStyleCnt="1" custScaleX="445315">
        <dgm:presLayoutVars>
          <dgm:chPref val="3"/>
        </dgm:presLayoutVars>
      </dgm:prSet>
      <dgm:spPr/>
    </dgm:pt>
    <dgm:pt modelId="{06668DF5-27F3-4685-8BB2-BFAA637F6A0C}" type="pres">
      <dgm:prSet presAssocID="{36ED17C0-7158-43E1-8D72-1B40404C3562}" presName="rootConnector1" presStyleLbl="node1" presStyleIdx="0" presStyleCnt="0"/>
      <dgm:spPr/>
    </dgm:pt>
    <dgm:pt modelId="{F6FFD05F-EE9D-47E3-BD8E-17831092FEEB}" type="pres">
      <dgm:prSet presAssocID="{36ED17C0-7158-43E1-8D72-1B40404C3562}" presName="hierChild2" presStyleCnt="0"/>
      <dgm:spPr/>
    </dgm:pt>
    <dgm:pt modelId="{9B110D4C-187E-488B-AA95-350E14D095AE}" type="pres">
      <dgm:prSet presAssocID="{D64E3B0A-0012-4B1C-ADA9-A81D1F736BA8}" presName="Name37" presStyleLbl="parChTrans1D2" presStyleIdx="0" presStyleCnt="5"/>
      <dgm:spPr/>
    </dgm:pt>
    <dgm:pt modelId="{169B4E65-869A-4774-8577-71E7B53D2FA1}" type="pres">
      <dgm:prSet presAssocID="{EE409C06-05A0-4732-8914-412EF2D7DEDC}" presName="hierRoot2" presStyleCnt="0">
        <dgm:presLayoutVars>
          <dgm:hierBranch val="init"/>
        </dgm:presLayoutVars>
      </dgm:prSet>
      <dgm:spPr/>
    </dgm:pt>
    <dgm:pt modelId="{EEDF9803-9012-4171-A93D-2E8EE58F6D86}" type="pres">
      <dgm:prSet presAssocID="{EE409C06-05A0-4732-8914-412EF2D7DEDC}" presName="rootComposite" presStyleCnt="0"/>
      <dgm:spPr/>
    </dgm:pt>
    <dgm:pt modelId="{01262D4A-EEFB-4EF2-B3C0-132294421309}" type="pres">
      <dgm:prSet presAssocID="{EE409C06-05A0-4732-8914-412EF2D7DEDC}" presName="rootText" presStyleLbl="node2" presStyleIdx="0" presStyleCnt="5" custScaleX="139624" custScaleY="107117" custLinFactNeighborX="-1740">
        <dgm:presLayoutVars>
          <dgm:chPref val="3"/>
        </dgm:presLayoutVars>
      </dgm:prSet>
      <dgm:spPr/>
    </dgm:pt>
    <dgm:pt modelId="{6B150961-2063-4991-9C67-88D8AEAD93FC}" type="pres">
      <dgm:prSet presAssocID="{EE409C06-05A0-4732-8914-412EF2D7DEDC}" presName="rootConnector" presStyleLbl="node2" presStyleIdx="0" presStyleCnt="5"/>
      <dgm:spPr/>
    </dgm:pt>
    <dgm:pt modelId="{4A18C2CE-0B6D-4C7D-A8FE-3FB5E66339F9}" type="pres">
      <dgm:prSet presAssocID="{EE409C06-05A0-4732-8914-412EF2D7DEDC}" presName="hierChild4" presStyleCnt="0"/>
      <dgm:spPr/>
    </dgm:pt>
    <dgm:pt modelId="{94BAE33B-0B1E-4881-9974-D609597B846C}" type="pres">
      <dgm:prSet presAssocID="{0131B393-6CB6-429D-ACFD-F78AC731E809}" presName="Name37" presStyleLbl="parChTrans1D3" presStyleIdx="0" presStyleCnt="3"/>
      <dgm:spPr/>
    </dgm:pt>
    <dgm:pt modelId="{B8B782D0-9C09-4BE2-97F5-3CB22F298D6C}" type="pres">
      <dgm:prSet presAssocID="{8B178FAE-996A-4A69-BA70-8F29D52FA9AA}" presName="hierRoot2" presStyleCnt="0">
        <dgm:presLayoutVars>
          <dgm:hierBranch val="init"/>
        </dgm:presLayoutVars>
      </dgm:prSet>
      <dgm:spPr/>
    </dgm:pt>
    <dgm:pt modelId="{8EE9D23B-0B77-4517-8B9E-E0C7CB178265}" type="pres">
      <dgm:prSet presAssocID="{8B178FAE-996A-4A69-BA70-8F29D52FA9AA}" presName="rootComposite" presStyleCnt="0"/>
      <dgm:spPr/>
    </dgm:pt>
    <dgm:pt modelId="{1C295451-E58A-477A-9136-BD92CBCADAF3}" type="pres">
      <dgm:prSet presAssocID="{8B178FAE-996A-4A69-BA70-8F29D52FA9AA}" presName="rootText" presStyleLbl="node3" presStyleIdx="0" presStyleCnt="3" custScaleX="185425" custLinFactY="64597" custLinFactNeighborX="37112" custLinFactNeighborY="100000">
        <dgm:presLayoutVars>
          <dgm:chPref val="3"/>
        </dgm:presLayoutVars>
      </dgm:prSet>
      <dgm:spPr/>
    </dgm:pt>
    <dgm:pt modelId="{7A615E82-0AEA-4EA3-9EB8-134DF32297FE}" type="pres">
      <dgm:prSet presAssocID="{8B178FAE-996A-4A69-BA70-8F29D52FA9AA}" presName="rootConnector" presStyleLbl="node3" presStyleIdx="0" presStyleCnt="3"/>
      <dgm:spPr/>
    </dgm:pt>
    <dgm:pt modelId="{6A387E43-2C38-4824-A983-BD6855CAF55A}" type="pres">
      <dgm:prSet presAssocID="{8B178FAE-996A-4A69-BA70-8F29D52FA9AA}" presName="hierChild4" presStyleCnt="0"/>
      <dgm:spPr/>
    </dgm:pt>
    <dgm:pt modelId="{CE9197C0-381D-423E-9A01-0C092C88120A}" type="pres">
      <dgm:prSet presAssocID="{8B178FAE-996A-4A69-BA70-8F29D52FA9AA}" presName="hierChild5" presStyleCnt="0"/>
      <dgm:spPr/>
    </dgm:pt>
    <dgm:pt modelId="{745D384F-C47E-49EA-95A5-C3F03CFB601D}" type="pres">
      <dgm:prSet presAssocID="{719ABBB9-FEF1-44D9-9124-152F02C47A92}" presName="Name37" presStyleLbl="parChTrans1D3" presStyleIdx="1" presStyleCnt="3"/>
      <dgm:spPr/>
    </dgm:pt>
    <dgm:pt modelId="{73561119-94E6-4A03-AB27-DB798BA9FDEC}" type="pres">
      <dgm:prSet presAssocID="{2FD693F9-E1FE-4F74-951A-3AF0AE87EF2C}" presName="hierRoot2" presStyleCnt="0">
        <dgm:presLayoutVars>
          <dgm:hierBranch val="init"/>
        </dgm:presLayoutVars>
      </dgm:prSet>
      <dgm:spPr/>
    </dgm:pt>
    <dgm:pt modelId="{C59932A7-9FEB-4F29-9E3D-7940344BAA3F}" type="pres">
      <dgm:prSet presAssocID="{2FD693F9-E1FE-4F74-951A-3AF0AE87EF2C}" presName="rootComposite" presStyleCnt="0"/>
      <dgm:spPr/>
    </dgm:pt>
    <dgm:pt modelId="{37E86A98-605C-4E37-9022-7047358134AD}" type="pres">
      <dgm:prSet presAssocID="{2FD693F9-E1FE-4F74-951A-3AF0AE87EF2C}" presName="rootText" presStyleLbl="node3" presStyleIdx="1" presStyleCnt="3" custScaleX="185425" custLinFactNeighborX="37112" custLinFactNeighborY="-93242">
        <dgm:presLayoutVars>
          <dgm:chPref val="3"/>
        </dgm:presLayoutVars>
      </dgm:prSet>
      <dgm:spPr/>
    </dgm:pt>
    <dgm:pt modelId="{09340956-2B1E-4CFE-9F3C-D60A42CEA166}" type="pres">
      <dgm:prSet presAssocID="{2FD693F9-E1FE-4F74-951A-3AF0AE87EF2C}" presName="rootConnector" presStyleLbl="node3" presStyleIdx="1" presStyleCnt="3"/>
      <dgm:spPr/>
    </dgm:pt>
    <dgm:pt modelId="{0B404C3B-5C41-43FE-B316-9BB76E5B82AA}" type="pres">
      <dgm:prSet presAssocID="{2FD693F9-E1FE-4F74-951A-3AF0AE87EF2C}" presName="hierChild4" presStyleCnt="0"/>
      <dgm:spPr/>
    </dgm:pt>
    <dgm:pt modelId="{9EEDA81A-8D83-45AE-AA12-2BFEBC07C93D}" type="pres">
      <dgm:prSet presAssocID="{2FD693F9-E1FE-4F74-951A-3AF0AE87EF2C}" presName="hierChild5" presStyleCnt="0"/>
      <dgm:spPr/>
    </dgm:pt>
    <dgm:pt modelId="{42C26D28-0A64-4737-BED0-F9B3C31B8EAC}" type="pres">
      <dgm:prSet presAssocID="{26B4A41F-22A5-4C9A-802D-655141E54851}" presName="Name37" presStyleLbl="parChTrans1D3" presStyleIdx="2" presStyleCnt="3"/>
      <dgm:spPr/>
    </dgm:pt>
    <dgm:pt modelId="{0F813EA0-D4AD-470A-AB74-A57A54DB7E58}" type="pres">
      <dgm:prSet presAssocID="{BB1EEBC1-F35E-4BCF-8D49-48E1D4950200}" presName="hierRoot2" presStyleCnt="0">
        <dgm:presLayoutVars>
          <dgm:hierBranch val="init"/>
        </dgm:presLayoutVars>
      </dgm:prSet>
      <dgm:spPr/>
    </dgm:pt>
    <dgm:pt modelId="{58027976-9764-471E-A117-2BCBE250D901}" type="pres">
      <dgm:prSet presAssocID="{BB1EEBC1-F35E-4BCF-8D49-48E1D4950200}" presName="rootComposite" presStyleCnt="0"/>
      <dgm:spPr/>
    </dgm:pt>
    <dgm:pt modelId="{1C63D294-9FC4-4295-83AD-450C8A9719AC}" type="pres">
      <dgm:prSet presAssocID="{BB1EEBC1-F35E-4BCF-8D49-48E1D4950200}" presName="rootText" presStyleLbl="node3" presStyleIdx="2" presStyleCnt="3" custScaleX="185425" custLinFactNeighborX="36532" custLinFactNeighborY="-3602">
        <dgm:presLayoutVars>
          <dgm:chPref val="3"/>
        </dgm:presLayoutVars>
      </dgm:prSet>
      <dgm:spPr/>
    </dgm:pt>
    <dgm:pt modelId="{ECC86A8A-D84A-4913-9FDB-C7FFDA97B3F2}" type="pres">
      <dgm:prSet presAssocID="{BB1EEBC1-F35E-4BCF-8D49-48E1D4950200}" presName="rootConnector" presStyleLbl="node3" presStyleIdx="2" presStyleCnt="3"/>
      <dgm:spPr/>
    </dgm:pt>
    <dgm:pt modelId="{EB33CE1B-E2B7-4CF4-B180-DBE4C9ADA8FB}" type="pres">
      <dgm:prSet presAssocID="{BB1EEBC1-F35E-4BCF-8D49-48E1D4950200}" presName="hierChild4" presStyleCnt="0"/>
      <dgm:spPr/>
    </dgm:pt>
    <dgm:pt modelId="{F4CF9ED4-0DE2-47C0-B0D4-9E07CAFDC9FC}" type="pres">
      <dgm:prSet presAssocID="{BB1EEBC1-F35E-4BCF-8D49-48E1D4950200}" presName="hierChild5" presStyleCnt="0"/>
      <dgm:spPr/>
    </dgm:pt>
    <dgm:pt modelId="{73FC28AD-EFC8-44F5-A328-0412BFDFF6D6}" type="pres">
      <dgm:prSet presAssocID="{EE409C06-05A0-4732-8914-412EF2D7DEDC}" presName="hierChild5" presStyleCnt="0"/>
      <dgm:spPr/>
    </dgm:pt>
    <dgm:pt modelId="{F3FDFE50-3A59-4AA7-B564-51A7D77314E6}" type="pres">
      <dgm:prSet presAssocID="{2CA6F6DA-63F0-4AD5-97C6-482A9189785B}" presName="Name37" presStyleLbl="parChTrans1D2" presStyleIdx="1" presStyleCnt="5"/>
      <dgm:spPr/>
    </dgm:pt>
    <dgm:pt modelId="{FBBB2051-1E9A-419E-B1D1-334D6B5DE6C5}" type="pres">
      <dgm:prSet presAssocID="{528144C0-1C85-463B-A1ED-9EE95B2757E4}" presName="hierRoot2" presStyleCnt="0">
        <dgm:presLayoutVars>
          <dgm:hierBranch val="init"/>
        </dgm:presLayoutVars>
      </dgm:prSet>
      <dgm:spPr/>
    </dgm:pt>
    <dgm:pt modelId="{8AA5C95D-7937-40A8-B33A-D9CD4D4E4522}" type="pres">
      <dgm:prSet presAssocID="{528144C0-1C85-463B-A1ED-9EE95B2757E4}" presName="rootComposite" presStyleCnt="0"/>
      <dgm:spPr/>
    </dgm:pt>
    <dgm:pt modelId="{D8279E23-A487-4A1F-AA87-E500C297E4B6}" type="pres">
      <dgm:prSet presAssocID="{528144C0-1C85-463B-A1ED-9EE95B2757E4}" presName="rootText" presStyleLbl="node2" presStyleIdx="1" presStyleCnt="5" custScaleX="139624" custScaleY="107117" custLinFactNeighborX="1817">
        <dgm:presLayoutVars>
          <dgm:chPref val="3"/>
        </dgm:presLayoutVars>
      </dgm:prSet>
      <dgm:spPr/>
    </dgm:pt>
    <dgm:pt modelId="{B9CF1CE1-C535-4AF3-9594-EEF87E5EA245}" type="pres">
      <dgm:prSet presAssocID="{528144C0-1C85-463B-A1ED-9EE95B2757E4}" presName="rootConnector" presStyleLbl="node2" presStyleIdx="1" presStyleCnt="5"/>
      <dgm:spPr/>
    </dgm:pt>
    <dgm:pt modelId="{D6A36E99-BA01-40BE-B46B-DCA442FB8DAA}" type="pres">
      <dgm:prSet presAssocID="{528144C0-1C85-463B-A1ED-9EE95B2757E4}" presName="hierChild4" presStyleCnt="0"/>
      <dgm:spPr/>
    </dgm:pt>
    <dgm:pt modelId="{A152C72C-BFDF-4851-9A3D-8ED31EC38A23}" type="pres">
      <dgm:prSet presAssocID="{528144C0-1C85-463B-A1ED-9EE95B2757E4}" presName="hierChild5" presStyleCnt="0"/>
      <dgm:spPr/>
    </dgm:pt>
    <dgm:pt modelId="{EF117D83-A39D-48E3-A354-E7A403F49176}" type="pres">
      <dgm:prSet presAssocID="{FCEEE48C-ADF7-4172-B174-D2CDC6E4528C}" presName="Name37" presStyleLbl="parChTrans1D2" presStyleIdx="2" presStyleCnt="5"/>
      <dgm:spPr/>
    </dgm:pt>
    <dgm:pt modelId="{5D7BCDEE-ABFE-4C68-B58A-A1BC7A885961}" type="pres">
      <dgm:prSet presAssocID="{FC8110C8-33EA-4EE5-9A89-E68848697EA4}" presName="hierRoot2" presStyleCnt="0">
        <dgm:presLayoutVars>
          <dgm:hierBranch val="init"/>
        </dgm:presLayoutVars>
      </dgm:prSet>
      <dgm:spPr/>
    </dgm:pt>
    <dgm:pt modelId="{C4210F9C-6EF0-41FD-95B7-0112E2A2E807}" type="pres">
      <dgm:prSet presAssocID="{FC8110C8-33EA-4EE5-9A89-E68848697EA4}" presName="rootComposite" presStyleCnt="0"/>
      <dgm:spPr/>
    </dgm:pt>
    <dgm:pt modelId="{37B66DA6-39A2-400D-A29F-B18CA50582C4}" type="pres">
      <dgm:prSet presAssocID="{FC8110C8-33EA-4EE5-9A89-E68848697EA4}" presName="rootText" presStyleLbl="node2" presStyleIdx="2" presStyleCnt="5" custScaleX="139624" custScaleY="107117">
        <dgm:presLayoutVars>
          <dgm:chPref val="3"/>
        </dgm:presLayoutVars>
      </dgm:prSet>
      <dgm:spPr/>
    </dgm:pt>
    <dgm:pt modelId="{3764C7F3-6D68-4563-AD97-1CD89193D6F3}" type="pres">
      <dgm:prSet presAssocID="{FC8110C8-33EA-4EE5-9A89-E68848697EA4}" presName="rootConnector" presStyleLbl="node2" presStyleIdx="2" presStyleCnt="5"/>
      <dgm:spPr/>
    </dgm:pt>
    <dgm:pt modelId="{09E2D346-1C90-4793-8032-47DA2247D3AA}" type="pres">
      <dgm:prSet presAssocID="{FC8110C8-33EA-4EE5-9A89-E68848697EA4}" presName="hierChild4" presStyleCnt="0"/>
      <dgm:spPr/>
    </dgm:pt>
    <dgm:pt modelId="{CE6079D0-5F80-4424-943C-34FA993AD7F9}" type="pres">
      <dgm:prSet presAssocID="{FC8110C8-33EA-4EE5-9A89-E68848697EA4}" presName="hierChild5" presStyleCnt="0"/>
      <dgm:spPr/>
    </dgm:pt>
    <dgm:pt modelId="{9F7E3ED9-B398-49C1-B348-93230223A7AE}" type="pres">
      <dgm:prSet presAssocID="{4B5EE325-DB0F-4F86-864B-64A6D3A7B223}" presName="Name37" presStyleLbl="parChTrans1D2" presStyleIdx="3" presStyleCnt="5"/>
      <dgm:spPr/>
    </dgm:pt>
    <dgm:pt modelId="{34D1CE01-46A2-4722-A29C-56BDC0E250CA}" type="pres">
      <dgm:prSet presAssocID="{5DA89A75-ECF7-46D3-BCCC-B159ADCB8125}" presName="hierRoot2" presStyleCnt="0">
        <dgm:presLayoutVars>
          <dgm:hierBranch val="init"/>
        </dgm:presLayoutVars>
      </dgm:prSet>
      <dgm:spPr/>
    </dgm:pt>
    <dgm:pt modelId="{84CF44C0-A8C4-4393-B116-D5ABC6080F49}" type="pres">
      <dgm:prSet presAssocID="{5DA89A75-ECF7-46D3-BCCC-B159ADCB8125}" presName="rootComposite" presStyleCnt="0"/>
      <dgm:spPr/>
    </dgm:pt>
    <dgm:pt modelId="{A1B2F83E-E147-44B0-A7B3-8158FEC32A49}" type="pres">
      <dgm:prSet presAssocID="{5DA89A75-ECF7-46D3-BCCC-B159ADCB8125}" presName="rootText" presStyleLbl="node2" presStyleIdx="3" presStyleCnt="5" custScaleX="139624" custScaleY="107117">
        <dgm:presLayoutVars>
          <dgm:chPref val="3"/>
        </dgm:presLayoutVars>
      </dgm:prSet>
      <dgm:spPr/>
    </dgm:pt>
    <dgm:pt modelId="{34341114-8A0B-41D5-A91D-E8C86C7E32E8}" type="pres">
      <dgm:prSet presAssocID="{5DA89A75-ECF7-46D3-BCCC-B159ADCB8125}" presName="rootConnector" presStyleLbl="node2" presStyleIdx="3" presStyleCnt="5"/>
      <dgm:spPr/>
    </dgm:pt>
    <dgm:pt modelId="{2B219520-9E7C-4E64-BB17-5072C7C97B35}" type="pres">
      <dgm:prSet presAssocID="{5DA89A75-ECF7-46D3-BCCC-B159ADCB8125}" presName="hierChild4" presStyleCnt="0"/>
      <dgm:spPr/>
    </dgm:pt>
    <dgm:pt modelId="{D3A62238-2E20-4608-936D-BDDB51280214}" type="pres">
      <dgm:prSet presAssocID="{5DA89A75-ECF7-46D3-BCCC-B159ADCB8125}" presName="hierChild5" presStyleCnt="0"/>
      <dgm:spPr/>
    </dgm:pt>
    <dgm:pt modelId="{866FD248-0FBC-433B-850F-4114A8BDD245}" type="pres">
      <dgm:prSet presAssocID="{7568E3F2-57AE-4D11-8FCF-30726AA4B562}" presName="Name37" presStyleLbl="parChTrans1D2" presStyleIdx="4" presStyleCnt="5"/>
      <dgm:spPr/>
    </dgm:pt>
    <dgm:pt modelId="{65CC99F3-EFF4-40CA-AD5B-B4D8E3111155}" type="pres">
      <dgm:prSet presAssocID="{9E852E2F-1642-47A4-8A5F-000D143C4569}" presName="hierRoot2" presStyleCnt="0">
        <dgm:presLayoutVars>
          <dgm:hierBranch val="init"/>
        </dgm:presLayoutVars>
      </dgm:prSet>
      <dgm:spPr/>
    </dgm:pt>
    <dgm:pt modelId="{88173AFF-031E-46C9-A2DF-45FA63BEA929}" type="pres">
      <dgm:prSet presAssocID="{9E852E2F-1642-47A4-8A5F-000D143C4569}" presName="rootComposite" presStyleCnt="0"/>
      <dgm:spPr/>
    </dgm:pt>
    <dgm:pt modelId="{DC00A656-E91C-4192-AA87-6BC479C68805}" type="pres">
      <dgm:prSet presAssocID="{9E852E2F-1642-47A4-8A5F-000D143C4569}" presName="rootText" presStyleLbl="node2" presStyleIdx="4" presStyleCnt="5" custScaleX="139624" custScaleY="107117">
        <dgm:presLayoutVars>
          <dgm:chPref val="3"/>
        </dgm:presLayoutVars>
      </dgm:prSet>
      <dgm:spPr/>
    </dgm:pt>
    <dgm:pt modelId="{06DAB8B6-4878-4300-B50A-B1CF838015FE}" type="pres">
      <dgm:prSet presAssocID="{9E852E2F-1642-47A4-8A5F-000D143C4569}" presName="rootConnector" presStyleLbl="node2" presStyleIdx="4" presStyleCnt="5"/>
      <dgm:spPr/>
    </dgm:pt>
    <dgm:pt modelId="{3C66251A-6B84-4EBC-BF17-C870769D3068}" type="pres">
      <dgm:prSet presAssocID="{9E852E2F-1642-47A4-8A5F-000D143C4569}" presName="hierChild4" presStyleCnt="0"/>
      <dgm:spPr/>
    </dgm:pt>
    <dgm:pt modelId="{7783E977-75FF-4D06-B5DE-1F400CA0F07E}" type="pres">
      <dgm:prSet presAssocID="{9E852E2F-1642-47A4-8A5F-000D143C4569}" presName="hierChild5" presStyleCnt="0"/>
      <dgm:spPr/>
    </dgm:pt>
    <dgm:pt modelId="{EF9DA15F-C682-45FB-80B5-04BE1EB67BA7}" type="pres">
      <dgm:prSet presAssocID="{36ED17C0-7158-43E1-8D72-1B40404C3562}" presName="hierChild3" presStyleCnt="0"/>
      <dgm:spPr/>
    </dgm:pt>
  </dgm:ptLst>
  <dgm:cxnLst>
    <dgm:cxn modelId="{41068200-E2DB-402A-BEB4-80709EFACBD7}" type="presOf" srcId="{FCEEE48C-ADF7-4172-B174-D2CDC6E4528C}" destId="{EF117D83-A39D-48E3-A354-E7A403F49176}" srcOrd="0" destOrd="0" presId="urn:microsoft.com/office/officeart/2005/8/layout/orgChart1"/>
    <dgm:cxn modelId="{E3B89900-144E-4D3C-865A-E52F9B0CF1D4}" type="presOf" srcId="{2FD693F9-E1FE-4F74-951A-3AF0AE87EF2C}" destId="{37E86A98-605C-4E37-9022-7047358134AD}" srcOrd="0" destOrd="0" presId="urn:microsoft.com/office/officeart/2005/8/layout/orgChart1"/>
    <dgm:cxn modelId="{B6E8EF1F-C9AF-4F96-BE30-A57FBC1EEC2B}" type="presOf" srcId="{FC8110C8-33EA-4EE5-9A89-E68848697EA4}" destId="{3764C7F3-6D68-4563-AD97-1CD89193D6F3}" srcOrd="1" destOrd="0" presId="urn:microsoft.com/office/officeart/2005/8/layout/orgChart1"/>
    <dgm:cxn modelId="{45F8CA2F-EAE3-4B97-B776-AE88417707AD}" type="presOf" srcId="{EE409C06-05A0-4732-8914-412EF2D7DEDC}" destId="{01262D4A-EEFB-4EF2-B3C0-132294421309}" srcOrd="0" destOrd="0" presId="urn:microsoft.com/office/officeart/2005/8/layout/orgChart1"/>
    <dgm:cxn modelId="{69A61931-ADB6-48B0-816D-5B74CF6D64AB}" type="presOf" srcId="{EE409C06-05A0-4732-8914-412EF2D7DEDC}" destId="{6B150961-2063-4991-9C67-88D8AEAD93FC}" srcOrd="1" destOrd="0" presId="urn:microsoft.com/office/officeart/2005/8/layout/orgChart1"/>
    <dgm:cxn modelId="{E94B9741-263A-4F8E-B288-1E90B98A6C1E}" type="presOf" srcId="{719ABBB9-FEF1-44D9-9124-152F02C47A92}" destId="{745D384F-C47E-49EA-95A5-C3F03CFB601D}" srcOrd="0" destOrd="0" presId="urn:microsoft.com/office/officeart/2005/8/layout/orgChart1"/>
    <dgm:cxn modelId="{F0ABA363-C5F1-4947-A1BF-DAE04A1876B3}" type="presOf" srcId="{FC8110C8-33EA-4EE5-9A89-E68848697EA4}" destId="{37B66DA6-39A2-400D-A29F-B18CA50582C4}" srcOrd="0" destOrd="0" presId="urn:microsoft.com/office/officeart/2005/8/layout/orgChart1"/>
    <dgm:cxn modelId="{6364C564-2794-4C76-8722-280D568A01B4}" type="presOf" srcId="{5DA89A75-ECF7-46D3-BCCC-B159ADCB8125}" destId="{A1B2F83E-E147-44B0-A7B3-8158FEC32A49}" srcOrd="0" destOrd="0" presId="urn:microsoft.com/office/officeart/2005/8/layout/orgChart1"/>
    <dgm:cxn modelId="{DDCFC16C-BAF6-481D-AA5F-E0A84A086947}" srcId="{36ED17C0-7158-43E1-8D72-1B40404C3562}" destId="{EE409C06-05A0-4732-8914-412EF2D7DEDC}" srcOrd="0" destOrd="0" parTransId="{D64E3B0A-0012-4B1C-ADA9-A81D1F736BA8}" sibTransId="{15BE79A9-A344-4C17-9228-193F742D988B}"/>
    <dgm:cxn modelId="{4DF41772-402B-4C2F-BA7C-4994A5D1FACD}" srcId="{36ED17C0-7158-43E1-8D72-1B40404C3562}" destId="{5DA89A75-ECF7-46D3-BCCC-B159ADCB8125}" srcOrd="3" destOrd="0" parTransId="{4B5EE325-DB0F-4F86-864B-64A6D3A7B223}" sibTransId="{8259E23B-860A-4947-BE2C-E214569E6A39}"/>
    <dgm:cxn modelId="{688D3A52-99DC-4D83-A9BA-F5F9E59CEC11}" type="presOf" srcId="{26B4A41F-22A5-4C9A-802D-655141E54851}" destId="{42C26D28-0A64-4737-BED0-F9B3C31B8EAC}" srcOrd="0" destOrd="0" presId="urn:microsoft.com/office/officeart/2005/8/layout/orgChart1"/>
    <dgm:cxn modelId="{9640E954-C735-4CD9-ABB2-50587314AD4F}" type="presOf" srcId="{BB1EEBC1-F35E-4BCF-8D49-48E1D4950200}" destId="{1C63D294-9FC4-4295-83AD-450C8A9719AC}" srcOrd="0" destOrd="0" presId="urn:microsoft.com/office/officeart/2005/8/layout/orgChart1"/>
    <dgm:cxn modelId="{63A77F55-0280-46E4-A33C-F916BD83C2AB}" type="presOf" srcId="{2FD693F9-E1FE-4F74-951A-3AF0AE87EF2C}" destId="{09340956-2B1E-4CFE-9F3C-D60A42CEA166}" srcOrd="1" destOrd="0" presId="urn:microsoft.com/office/officeart/2005/8/layout/orgChart1"/>
    <dgm:cxn modelId="{BEB98E58-7BC3-48B5-90C4-8D7895BDC2D9}" type="presOf" srcId="{81D73F2E-7A4E-465D-B806-34FF4F618BAB}" destId="{488277FB-6438-4899-82B2-5171A01417BA}" srcOrd="0" destOrd="0" presId="urn:microsoft.com/office/officeart/2005/8/layout/orgChart1"/>
    <dgm:cxn modelId="{3A80F259-21B4-40FB-A469-68B240ACF140}" srcId="{36ED17C0-7158-43E1-8D72-1B40404C3562}" destId="{FC8110C8-33EA-4EE5-9A89-E68848697EA4}" srcOrd="2" destOrd="0" parTransId="{FCEEE48C-ADF7-4172-B174-D2CDC6E4528C}" sibTransId="{316FC144-9F91-4215-B191-F163E4BD0119}"/>
    <dgm:cxn modelId="{8BFB3382-B9E1-482E-A3A5-AA0D01D45B07}" type="presOf" srcId="{8B178FAE-996A-4A69-BA70-8F29D52FA9AA}" destId="{7A615E82-0AEA-4EA3-9EB8-134DF32297FE}" srcOrd="1" destOrd="0" presId="urn:microsoft.com/office/officeart/2005/8/layout/orgChart1"/>
    <dgm:cxn modelId="{4C187394-3D27-4A91-BD4C-3A6FF5907A4E}" type="presOf" srcId="{5DA89A75-ECF7-46D3-BCCC-B159ADCB8125}" destId="{34341114-8A0B-41D5-A91D-E8C86C7E32E8}" srcOrd="1" destOrd="0" presId="urn:microsoft.com/office/officeart/2005/8/layout/orgChart1"/>
    <dgm:cxn modelId="{8116CAA1-F160-435D-95B7-EA7724F5F48E}" srcId="{EE409C06-05A0-4732-8914-412EF2D7DEDC}" destId="{2FD693F9-E1FE-4F74-951A-3AF0AE87EF2C}" srcOrd="1" destOrd="0" parTransId="{719ABBB9-FEF1-44D9-9124-152F02C47A92}" sibTransId="{BE052FEA-6454-44AD-86C9-11D2C184D37E}"/>
    <dgm:cxn modelId="{C245E8A3-61F8-4498-9F42-B352E124ADF4}" type="presOf" srcId="{D64E3B0A-0012-4B1C-ADA9-A81D1F736BA8}" destId="{9B110D4C-187E-488B-AA95-350E14D095AE}" srcOrd="0" destOrd="0" presId="urn:microsoft.com/office/officeart/2005/8/layout/orgChart1"/>
    <dgm:cxn modelId="{7CB029A9-8701-4C22-9DEB-99624D17EC2E}" srcId="{36ED17C0-7158-43E1-8D72-1B40404C3562}" destId="{528144C0-1C85-463B-A1ED-9EE95B2757E4}" srcOrd="1" destOrd="0" parTransId="{2CA6F6DA-63F0-4AD5-97C6-482A9189785B}" sibTransId="{D182197C-A51F-4B41-936F-4E88F09C5BA7}"/>
    <dgm:cxn modelId="{D20537AA-C547-4344-BCFE-50B0016857E2}" type="presOf" srcId="{4B5EE325-DB0F-4F86-864B-64A6D3A7B223}" destId="{9F7E3ED9-B398-49C1-B348-93230223A7AE}" srcOrd="0" destOrd="0" presId="urn:microsoft.com/office/officeart/2005/8/layout/orgChart1"/>
    <dgm:cxn modelId="{E8B39CB2-0EEB-463D-968F-79AF8863F192}" type="presOf" srcId="{36ED17C0-7158-43E1-8D72-1B40404C3562}" destId="{BF6294B0-4B20-4A4E-82F3-2D8E22A7FC20}" srcOrd="0" destOrd="0" presId="urn:microsoft.com/office/officeart/2005/8/layout/orgChart1"/>
    <dgm:cxn modelId="{AD9EC6B5-6891-4C30-AB70-5F5B521CAAD8}" srcId="{EE409C06-05A0-4732-8914-412EF2D7DEDC}" destId="{BB1EEBC1-F35E-4BCF-8D49-48E1D4950200}" srcOrd="2" destOrd="0" parTransId="{26B4A41F-22A5-4C9A-802D-655141E54851}" sibTransId="{1D65DE1A-9A3F-477F-A937-723B565499BC}"/>
    <dgm:cxn modelId="{F5E19DB8-5607-4C44-B44D-DD32428F18C3}" type="presOf" srcId="{9E852E2F-1642-47A4-8A5F-000D143C4569}" destId="{06DAB8B6-4878-4300-B50A-B1CF838015FE}" srcOrd="1" destOrd="0" presId="urn:microsoft.com/office/officeart/2005/8/layout/orgChart1"/>
    <dgm:cxn modelId="{2A44ACB8-AF55-4A30-8F21-9301B3018F9A}" type="presOf" srcId="{528144C0-1C85-463B-A1ED-9EE95B2757E4}" destId="{D8279E23-A487-4A1F-AA87-E500C297E4B6}" srcOrd="0" destOrd="0" presId="urn:microsoft.com/office/officeart/2005/8/layout/orgChart1"/>
    <dgm:cxn modelId="{8D7163CC-0320-4FFF-9056-6F4EB371CDDE}" type="presOf" srcId="{BB1EEBC1-F35E-4BCF-8D49-48E1D4950200}" destId="{ECC86A8A-D84A-4913-9FDB-C7FFDA97B3F2}" srcOrd="1" destOrd="0" presId="urn:microsoft.com/office/officeart/2005/8/layout/orgChart1"/>
    <dgm:cxn modelId="{35AF9ED1-5AB1-44B2-9E57-35DE6F047747}" type="presOf" srcId="{0131B393-6CB6-429D-ACFD-F78AC731E809}" destId="{94BAE33B-0B1E-4881-9974-D609597B846C}" srcOrd="0" destOrd="0" presId="urn:microsoft.com/office/officeart/2005/8/layout/orgChart1"/>
    <dgm:cxn modelId="{85CE64DB-B33F-4188-BE72-D41C7FCD60ED}" type="presOf" srcId="{2CA6F6DA-63F0-4AD5-97C6-482A9189785B}" destId="{F3FDFE50-3A59-4AA7-B564-51A7D77314E6}" srcOrd="0" destOrd="0" presId="urn:microsoft.com/office/officeart/2005/8/layout/orgChart1"/>
    <dgm:cxn modelId="{D64522E8-9447-4A50-ACAA-4235796B62C6}" type="presOf" srcId="{36ED17C0-7158-43E1-8D72-1B40404C3562}" destId="{06668DF5-27F3-4685-8BB2-BFAA637F6A0C}" srcOrd="1" destOrd="0" presId="urn:microsoft.com/office/officeart/2005/8/layout/orgChart1"/>
    <dgm:cxn modelId="{3916B4E8-2E37-4EB2-9D4A-1D68995EDDBB}" srcId="{36ED17C0-7158-43E1-8D72-1B40404C3562}" destId="{9E852E2F-1642-47A4-8A5F-000D143C4569}" srcOrd="4" destOrd="0" parTransId="{7568E3F2-57AE-4D11-8FCF-30726AA4B562}" sibTransId="{FC8520D5-89DA-4B03-9FF3-000B9376D2FA}"/>
    <dgm:cxn modelId="{0ABD3EE9-A870-48BD-9267-2C3286A0C588}" srcId="{EE409C06-05A0-4732-8914-412EF2D7DEDC}" destId="{8B178FAE-996A-4A69-BA70-8F29D52FA9AA}" srcOrd="0" destOrd="0" parTransId="{0131B393-6CB6-429D-ACFD-F78AC731E809}" sibTransId="{0FC3E0DF-0B44-40B3-98DF-816DEDD04EA1}"/>
    <dgm:cxn modelId="{53DDE6EA-CFE9-4D67-950B-AC5F80A30E9F}" type="presOf" srcId="{7568E3F2-57AE-4D11-8FCF-30726AA4B562}" destId="{866FD248-0FBC-433B-850F-4114A8BDD245}" srcOrd="0" destOrd="0" presId="urn:microsoft.com/office/officeart/2005/8/layout/orgChart1"/>
    <dgm:cxn modelId="{9AA3ACF0-7234-4E3A-BC7D-5D8D8C9211CB}" srcId="{81D73F2E-7A4E-465D-B806-34FF4F618BAB}" destId="{36ED17C0-7158-43E1-8D72-1B40404C3562}" srcOrd="0" destOrd="0" parTransId="{2127B6D5-4DFE-4A34-9C02-75F6D792FD35}" sibTransId="{8A64FE65-BF23-441B-9626-952BDD39C45D}"/>
    <dgm:cxn modelId="{831438F5-4EAE-4131-B1EE-8CED39195773}" type="presOf" srcId="{528144C0-1C85-463B-A1ED-9EE95B2757E4}" destId="{B9CF1CE1-C535-4AF3-9594-EEF87E5EA245}" srcOrd="1" destOrd="0" presId="urn:microsoft.com/office/officeart/2005/8/layout/orgChart1"/>
    <dgm:cxn modelId="{E56516F9-EAF8-4EDB-9BF8-6FAC8E78764B}" type="presOf" srcId="{9E852E2F-1642-47A4-8A5F-000D143C4569}" destId="{DC00A656-E91C-4192-AA87-6BC479C68805}" srcOrd="0" destOrd="0" presId="urn:microsoft.com/office/officeart/2005/8/layout/orgChart1"/>
    <dgm:cxn modelId="{766CBFFB-8230-4EF5-AF37-9768A32A2262}" type="presOf" srcId="{8B178FAE-996A-4A69-BA70-8F29D52FA9AA}" destId="{1C295451-E58A-477A-9136-BD92CBCADAF3}" srcOrd="0" destOrd="0" presId="urn:microsoft.com/office/officeart/2005/8/layout/orgChart1"/>
    <dgm:cxn modelId="{3A883990-AC1A-40D0-B399-301F49A5EFB8}" type="presParOf" srcId="{488277FB-6438-4899-82B2-5171A01417BA}" destId="{87FF0002-573A-4D37-8A74-96361727DB2E}" srcOrd="0" destOrd="0" presId="urn:microsoft.com/office/officeart/2005/8/layout/orgChart1"/>
    <dgm:cxn modelId="{BA5FE4FE-FEEB-4FC9-9D12-D1C2D091BDB4}" type="presParOf" srcId="{87FF0002-573A-4D37-8A74-96361727DB2E}" destId="{A25056F3-428A-40B5-8CF1-E6A62429C673}" srcOrd="0" destOrd="0" presId="urn:microsoft.com/office/officeart/2005/8/layout/orgChart1"/>
    <dgm:cxn modelId="{9AC68410-7100-422B-99BF-6EB3FB111B21}" type="presParOf" srcId="{A25056F3-428A-40B5-8CF1-E6A62429C673}" destId="{BF6294B0-4B20-4A4E-82F3-2D8E22A7FC20}" srcOrd="0" destOrd="0" presId="urn:microsoft.com/office/officeart/2005/8/layout/orgChart1"/>
    <dgm:cxn modelId="{34730DC6-F8DE-449B-8557-5D11569958C9}" type="presParOf" srcId="{A25056F3-428A-40B5-8CF1-E6A62429C673}" destId="{06668DF5-27F3-4685-8BB2-BFAA637F6A0C}" srcOrd="1" destOrd="0" presId="urn:microsoft.com/office/officeart/2005/8/layout/orgChart1"/>
    <dgm:cxn modelId="{2951A9E8-4861-482E-BB9C-933CF49F967B}" type="presParOf" srcId="{87FF0002-573A-4D37-8A74-96361727DB2E}" destId="{F6FFD05F-EE9D-47E3-BD8E-17831092FEEB}" srcOrd="1" destOrd="0" presId="urn:microsoft.com/office/officeart/2005/8/layout/orgChart1"/>
    <dgm:cxn modelId="{DCEF3CBE-37E0-48CF-AF0C-0DAB51F9D37A}" type="presParOf" srcId="{F6FFD05F-EE9D-47E3-BD8E-17831092FEEB}" destId="{9B110D4C-187E-488B-AA95-350E14D095AE}" srcOrd="0" destOrd="0" presId="urn:microsoft.com/office/officeart/2005/8/layout/orgChart1"/>
    <dgm:cxn modelId="{F77D9A28-509A-40E7-9BD6-F7F595313516}" type="presParOf" srcId="{F6FFD05F-EE9D-47E3-BD8E-17831092FEEB}" destId="{169B4E65-869A-4774-8577-71E7B53D2FA1}" srcOrd="1" destOrd="0" presId="urn:microsoft.com/office/officeart/2005/8/layout/orgChart1"/>
    <dgm:cxn modelId="{88528ADE-C2A1-46C0-8446-7849D473B875}" type="presParOf" srcId="{169B4E65-869A-4774-8577-71E7B53D2FA1}" destId="{EEDF9803-9012-4171-A93D-2E8EE58F6D86}" srcOrd="0" destOrd="0" presId="urn:microsoft.com/office/officeart/2005/8/layout/orgChart1"/>
    <dgm:cxn modelId="{360D03C3-83F2-481D-BF2F-E307DBE2DBCE}" type="presParOf" srcId="{EEDF9803-9012-4171-A93D-2E8EE58F6D86}" destId="{01262D4A-EEFB-4EF2-B3C0-132294421309}" srcOrd="0" destOrd="0" presId="urn:microsoft.com/office/officeart/2005/8/layout/orgChart1"/>
    <dgm:cxn modelId="{574B7FB7-C142-4BE3-A721-6F68EBAED9A5}" type="presParOf" srcId="{EEDF9803-9012-4171-A93D-2E8EE58F6D86}" destId="{6B150961-2063-4991-9C67-88D8AEAD93FC}" srcOrd="1" destOrd="0" presId="urn:microsoft.com/office/officeart/2005/8/layout/orgChart1"/>
    <dgm:cxn modelId="{C71E1E82-28F4-4007-B7F6-A6F9A8ACA6F4}" type="presParOf" srcId="{169B4E65-869A-4774-8577-71E7B53D2FA1}" destId="{4A18C2CE-0B6D-4C7D-A8FE-3FB5E66339F9}" srcOrd="1" destOrd="0" presId="urn:microsoft.com/office/officeart/2005/8/layout/orgChart1"/>
    <dgm:cxn modelId="{A9A9B8CB-D8E8-4122-8761-06E13EBE056C}" type="presParOf" srcId="{4A18C2CE-0B6D-4C7D-A8FE-3FB5E66339F9}" destId="{94BAE33B-0B1E-4881-9974-D609597B846C}" srcOrd="0" destOrd="0" presId="urn:microsoft.com/office/officeart/2005/8/layout/orgChart1"/>
    <dgm:cxn modelId="{32AB2D94-D16A-4D19-8C93-3CA479C7BABC}" type="presParOf" srcId="{4A18C2CE-0B6D-4C7D-A8FE-3FB5E66339F9}" destId="{B8B782D0-9C09-4BE2-97F5-3CB22F298D6C}" srcOrd="1" destOrd="0" presId="urn:microsoft.com/office/officeart/2005/8/layout/orgChart1"/>
    <dgm:cxn modelId="{DF418156-9638-4D71-ABAB-CC3708B0A347}" type="presParOf" srcId="{B8B782D0-9C09-4BE2-97F5-3CB22F298D6C}" destId="{8EE9D23B-0B77-4517-8B9E-E0C7CB178265}" srcOrd="0" destOrd="0" presId="urn:microsoft.com/office/officeart/2005/8/layout/orgChart1"/>
    <dgm:cxn modelId="{F591E509-66FE-41AE-AED4-C16A0A42FA96}" type="presParOf" srcId="{8EE9D23B-0B77-4517-8B9E-E0C7CB178265}" destId="{1C295451-E58A-477A-9136-BD92CBCADAF3}" srcOrd="0" destOrd="0" presId="urn:microsoft.com/office/officeart/2005/8/layout/orgChart1"/>
    <dgm:cxn modelId="{F2249D47-DF99-4953-B285-8DEC8A905B5F}" type="presParOf" srcId="{8EE9D23B-0B77-4517-8B9E-E0C7CB178265}" destId="{7A615E82-0AEA-4EA3-9EB8-134DF32297FE}" srcOrd="1" destOrd="0" presId="urn:microsoft.com/office/officeart/2005/8/layout/orgChart1"/>
    <dgm:cxn modelId="{840DAA06-C9D7-4664-B7CA-78CFADA13E54}" type="presParOf" srcId="{B8B782D0-9C09-4BE2-97F5-3CB22F298D6C}" destId="{6A387E43-2C38-4824-A983-BD6855CAF55A}" srcOrd="1" destOrd="0" presId="urn:microsoft.com/office/officeart/2005/8/layout/orgChart1"/>
    <dgm:cxn modelId="{0CD6262F-DFC8-423E-8648-D7B1C2D25F71}" type="presParOf" srcId="{B8B782D0-9C09-4BE2-97F5-3CB22F298D6C}" destId="{CE9197C0-381D-423E-9A01-0C092C88120A}" srcOrd="2" destOrd="0" presId="urn:microsoft.com/office/officeart/2005/8/layout/orgChart1"/>
    <dgm:cxn modelId="{972D150A-C428-4F48-B7B8-8A543AB8189E}" type="presParOf" srcId="{4A18C2CE-0B6D-4C7D-A8FE-3FB5E66339F9}" destId="{745D384F-C47E-49EA-95A5-C3F03CFB601D}" srcOrd="2" destOrd="0" presId="urn:microsoft.com/office/officeart/2005/8/layout/orgChart1"/>
    <dgm:cxn modelId="{D8DA9B62-5147-45AC-80D0-6AACE4002774}" type="presParOf" srcId="{4A18C2CE-0B6D-4C7D-A8FE-3FB5E66339F9}" destId="{73561119-94E6-4A03-AB27-DB798BA9FDEC}" srcOrd="3" destOrd="0" presId="urn:microsoft.com/office/officeart/2005/8/layout/orgChart1"/>
    <dgm:cxn modelId="{92D51BA3-202B-4685-92AA-ADE20D4F87C3}" type="presParOf" srcId="{73561119-94E6-4A03-AB27-DB798BA9FDEC}" destId="{C59932A7-9FEB-4F29-9E3D-7940344BAA3F}" srcOrd="0" destOrd="0" presId="urn:microsoft.com/office/officeart/2005/8/layout/orgChart1"/>
    <dgm:cxn modelId="{92A004E2-F155-4AA7-9603-0AB83E92F3CB}" type="presParOf" srcId="{C59932A7-9FEB-4F29-9E3D-7940344BAA3F}" destId="{37E86A98-605C-4E37-9022-7047358134AD}" srcOrd="0" destOrd="0" presId="urn:microsoft.com/office/officeart/2005/8/layout/orgChart1"/>
    <dgm:cxn modelId="{61D126B0-D9A5-49D2-84E1-46663C49D361}" type="presParOf" srcId="{C59932A7-9FEB-4F29-9E3D-7940344BAA3F}" destId="{09340956-2B1E-4CFE-9F3C-D60A42CEA166}" srcOrd="1" destOrd="0" presId="urn:microsoft.com/office/officeart/2005/8/layout/orgChart1"/>
    <dgm:cxn modelId="{BD08B2B1-B8A0-4739-8C05-DAEF931CCC55}" type="presParOf" srcId="{73561119-94E6-4A03-AB27-DB798BA9FDEC}" destId="{0B404C3B-5C41-43FE-B316-9BB76E5B82AA}" srcOrd="1" destOrd="0" presId="urn:microsoft.com/office/officeart/2005/8/layout/orgChart1"/>
    <dgm:cxn modelId="{9B0A00A5-A538-4936-85A9-0711DEE25C43}" type="presParOf" srcId="{73561119-94E6-4A03-AB27-DB798BA9FDEC}" destId="{9EEDA81A-8D83-45AE-AA12-2BFEBC07C93D}" srcOrd="2" destOrd="0" presId="urn:microsoft.com/office/officeart/2005/8/layout/orgChart1"/>
    <dgm:cxn modelId="{5F6D1236-F821-4949-BE76-DE776A38B8BB}" type="presParOf" srcId="{4A18C2CE-0B6D-4C7D-A8FE-3FB5E66339F9}" destId="{42C26D28-0A64-4737-BED0-F9B3C31B8EAC}" srcOrd="4" destOrd="0" presId="urn:microsoft.com/office/officeart/2005/8/layout/orgChart1"/>
    <dgm:cxn modelId="{A23AE540-E4E2-411E-A69C-B69DD6FE75D9}" type="presParOf" srcId="{4A18C2CE-0B6D-4C7D-A8FE-3FB5E66339F9}" destId="{0F813EA0-D4AD-470A-AB74-A57A54DB7E58}" srcOrd="5" destOrd="0" presId="urn:microsoft.com/office/officeart/2005/8/layout/orgChart1"/>
    <dgm:cxn modelId="{5FAFF3AB-EEDD-483F-A5BF-7877C2601FC9}" type="presParOf" srcId="{0F813EA0-D4AD-470A-AB74-A57A54DB7E58}" destId="{58027976-9764-471E-A117-2BCBE250D901}" srcOrd="0" destOrd="0" presId="urn:microsoft.com/office/officeart/2005/8/layout/orgChart1"/>
    <dgm:cxn modelId="{E6974448-C333-49FE-8524-2A23517BE908}" type="presParOf" srcId="{58027976-9764-471E-A117-2BCBE250D901}" destId="{1C63D294-9FC4-4295-83AD-450C8A9719AC}" srcOrd="0" destOrd="0" presId="urn:microsoft.com/office/officeart/2005/8/layout/orgChart1"/>
    <dgm:cxn modelId="{76D62D7E-E14C-4F86-A498-7710F20D5FA9}" type="presParOf" srcId="{58027976-9764-471E-A117-2BCBE250D901}" destId="{ECC86A8A-D84A-4913-9FDB-C7FFDA97B3F2}" srcOrd="1" destOrd="0" presId="urn:microsoft.com/office/officeart/2005/8/layout/orgChart1"/>
    <dgm:cxn modelId="{2E694CA0-65D2-4D00-AAD9-204DD1D2762D}" type="presParOf" srcId="{0F813EA0-D4AD-470A-AB74-A57A54DB7E58}" destId="{EB33CE1B-E2B7-4CF4-B180-DBE4C9ADA8FB}" srcOrd="1" destOrd="0" presId="urn:microsoft.com/office/officeart/2005/8/layout/orgChart1"/>
    <dgm:cxn modelId="{FB0BD3C7-0BC7-441E-AE69-C559C8D0912D}" type="presParOf" srcId="{0F813EA0-D4AD-470A-AB74-A57A54DB7E58}" destId="{F4CF9ED4-0DE2-47C0-B0D4-9E07CAFDC9FC}" srcOrd="2" destOrd="0" presId="urn:microsoft.com/office/officeart/2005/8/layout/orgChart1"/>
    <dgm:cxn modelId="{D960ECF6-4E69-458F-83E1-E79835395D0D}" type="presParOf" srcId="{169B4E65-869A-4774-8577-71E7B53D2FA1}" destId="{73FC28AD-EFC8-44F5-A328-0412BFDFF6D6}" srcOrd="2" destOrd="0" presId="urn:microsoft.com/office/officeart/2005/8/layout/orgChart1"/>
    <dgm:cxn modelId="{FEEC7B4E-EF4E-4FE6-B0B7-353E8575B88C}" type="presParOf" srcId="{F6FFD05F-EE9D-47E3-BD8E-17831092FEEB}" destId="{F3FDFE50-3A59-4AA7-B564-51A7D77314E6}" srcOrd="2" destOrd="0" presId="urn:microsoft.com/office/officeart/2005/8/layout/orgChart1"/>
    <dgm:cxn modelId="{0925EB92-0D44-4B79-8DAB-92C1BE47BF45}" type="presParOf" srcId="{F6FFD05F-EE9D-47E3-BD8E-17831092FEEB}" destId="{FBBB2051-1E9A-419E-B1D1-334D6B5DE6C5}" srcOrd="3" destOrd="0" presId="urn:microsoft.com/office/officeart/2005/8/layout/orgChart1"/>
    <dgm:cxn modelId="{8DF65C62-FDA2-4C2C-B128-8A537C0BAC98}" type="presParOf" srcId="{FBBB2051-1E9A-419E-B1D1-334D6B5DE6C5}" destId="{8AA5C95D-7937-40A8-B33A-D9CD4D4E4522}" srcOrd="0" destOrd="0" presId="urn:microsoft.com/office/officeart/2005/8/layout/orgChart1"/>
    <dgm:cxn modelId="{D36FAA5F-B4D2-4040-8C91-42ECDC4465CC}" type="presParOf" srcId="{8AA5C95D-7937-40A8-B33A-D9CD4D4E4522}" destId="{D8279E23-A487-4A1F-AA87-E500C297E4B6}" srcOrd="0" destOrd="0" presId="urn:microsoft.com/office/officeart/2005/8/layout/orgChart1"/>
    <dgm:cxn modelId="{1E4159D9-F6AA-4069-81BA-F3F2A3D3A466}" type="presParOf" srcId="{8AA5C95D-7937-40A8-B33A-D9CD4D4E4522}" destId="{B9CF1CE1-C535-4AF3-9594-EEF87E5EA245}" srcOrd="1" destOrd="0" presId="urn:microsoft.com/office/officeart/2005/8/layout/orgChart1"/>
    <dgm:cxn modelId="{B163E20A-F03D-41C0-BB01-CEAA2019977A}" type="presParOf" srcId="{FBBB2051-1E9A-419E-B1D1-334D6B5DE6C5}" destId="{D6A36E99-BA01-40BE-B46B-DCA442FB8DAA}" srcOrd="1" destOrd="0" presId="urn:microsoft.com/office/officeart/2005/8/layout/orgChart1"/>
    <dgm:cxn modelId="{3867ECDE-96CD-4BE4-A34A-5360EA1CF6C2}" type="presParOf" srcId="{FBBB2051-1E9A-419E-B1D1-334D6B5DE6C5}" destId="{A152C72C-BFDF-4851-9A3D-8ED31EC38A23}" srcOrd="2" destOrd="0" presId="urn:microsoft.com/office/officeart/2005/8/layout/orgChart1"/>
    <dgm:cxn modelId="{E4DF5D39-6E0B-408B-AB2E-6B2B2C3829FA}" type="presParOf" srcId="{F6FFD05F-EE9D-47E3-BD8E-17831092FEEB}" destId="{EF117D83-A39D-48E3-A354-E7A403F49176}" srcOrd="4" destOrd="0" presId="urn:microsoft.com/office/officeart/2005/8/layout/orgChart1"/>
    <dgm:cxn modelId="{507ED283-497C-4E0B-8C5A-74D22D49CBEB}" type="presParOf" srcId="{F6FFD05F-EE9D-47E3-BD8E-17831092FEEB}" destId="{5D7BCDEE-ABFE-4C68-B58A-A1BC7A885961}" srcOrd="5" destOrd="0" presId="urn:microsoft.com/office/officeart/2005/8/layout/orgChart1"/>
    <dgm:cxn modelId="{D2DBA364-3D43-4264-A582-4240BA8B579B}" type="presParOf" srcId="{5D7BCDEE-ABFE-4C68-B58A-A1BC7A885961}" destId="{C4210F9C-6EF0-41FD-95B7-0112E2A2E807}" srcOrd="0" destOrd="0" presId="urn:microsoft.com/office/officeart/2005/8/layout/orgChart1"/>
    <dgm:cxn modelId="{971ED748-ECE8-4E7C-8544-ACA6681B2410}" type="presParOf" srcId="{C4210F9C-6EF0-41FD-95B7-0112E2A2E807}" destId="{37B66DA6-39A2-400D-A29F-B18CA50582C4}" srcOrd="0" destOrd="0" presId="urn:microsoft.com/office/officeart/2005/8/layout/orgChart1"/>
    <dgm:cxn modelId="{BD6A47AB-B245-41D6-B930-9D498E323AD5}" type="presParOf" srcId="{C4210F9C-6EF0-41FD-95B7-0112E2A2E807}" destId="{3764C7F3-6D68-4563-AD97-1CD89193D6F3}" srcOrd="1" destOrd="0" presId="urn:microsoft.com/office/officeart/2005/8/layout/orgChart1"/>
    <dgm:cxn modelId="{9CBADC8B-D8E0-47E9-84E3-2BAFF2DFA83B}" type="presParOf" srcId="{5D7BCDEE-ABFE-4C68-B58A-A1BC7A885961}" destId="{09E2D346-1C90-4793-8032-47DA2247D3AA}" srcOrd="1" destOrd="0" presId="urn:microsoft.com/office/officeart/2005/8/layout/orgChart1"/>
    <dgm:cxn modelId="{A16FD573-9EAD-47EE-82B4-E8E5844F50A0}" type="presParOf" srcId="{5D7BCDEE-ABFE-4C68-B58A-A1BC7A885961}" destId="{CE6079D0-5F80-4424-943C-34FA993AD7F9}" srcOrd="2" destOrd="0" presId="urn:microsoft.com/office/officeart/2005/8/layout/orgChart1"/>
    <dgm:cxn modelId="{B1F43AC8-FC3F-48B5-9A0A-77C895C982FC}" type="presParOf" srcId="{F6FFD05F-EE9D-47E3-BD8E-17831092FEEB}" destId="{9F7E3ED9-B398-49C1-B348-93230223A7AE}" srcOrd="6" destOrd="0" presId="urn:microsoft.com/office/officeart/2005/8/layout/orgChart1"/>
    <dgm:cxn modelId="{5EB5121A-CE75-4ACE-A3E9-859BED92DA97}" type="presParOf" srcId="{F6FFD05F-EE9D-47E3-BD8E-17831092FEEB}" destId="{34D1CE01-46A2-4722-A29C-56BDC0E250CA}" srcOrd="7" destOrd="0" presId="urn:microsoft.com/office/officeart/2005/8/layout/orgChart1"/>
    <dgm:cxn modelId="{EB5ABB42-6398-4C18-8B19-16C1910BF9DF}" type="presParOf" srcId="{34D1CE01-46A2-4722-A29C-56BDC0E250CA}" destId="{84CF44C0-A8C4-4393-B116-D5ABC6080F49}" srcOrd="0" destOrd="0" presId="urn:microsoft.com/office/officeart/2005/8/layout/orgChart1"/>
    <dgm:cxn modelId="{5CE8E29D-10F4-47C2-898B-DB329D6467BA}" type="presParOf" srcId="{84CF44C0-A8C4-4393-B116-D5ABC6080F49}" destId="{A1B2F83E-E147-44B0-A7B3-8158FEC32A49}" srcOrd="0" destOrd="0" presId="urn:microsoft.com/office/officeart/2005/8/layout/orgChart1"/>
    <dgm:cxn modelId="{1E8ED826-EB1A-46D6-B083-A9CA2754CC2E}" type="presParOf" srcId="{84CF44C0-A8C4-4393-B116-D5ABC6080F49}" destId="{34341114-8A0B-41D5-A91D-E8C86C7E32E8}" srcOrd="1" destOrd="0" presId="urn:microsoft.com/office/officeart/2005/8/layout/orgChart1"/>
    <dgm:cxn modelId="{BF4453BA-7FD7-46ED-BF53-B755B7C1CE29}" type="presParOf" srcId="{34D1CE01-46A2-4722-A29C-56BDC0E250CA}" destId="{2B219520-9E7C-4E64-BB17-5072C7C97B35}" srcOrd="1" destOrd="0" presId="urn:microsoft.com/office/officeart/2005/8/layout/orgChart1"/>
    <dgm:cxn modelId="{A29316AB-5EEE-48F5-81D6-0987E8FE636C}" type="presParOf" srcId="{34D1CE01-46A2-4722-A29C-56BDC0E250CA}" destId="{D3A62238-2E20-4608-936D-BDDB51280214}" srcOrd="2" destOrd="0" presId="urn:microsoft.com/office/officeart/2005/8/layout/orgChart1"/>
    <dgm:cxn modelId="{6B7EAFAD-9A61-46F1-B25A-50D139E20785}" type="presParOf" srcId="{F6FFD05F-EE9D-47E3-BD8E-17831092FEEB}" destId="{866FD248-0FBC-433B-850F-4114A8BDD245}" srcOrd="8" destOrd="0" presId="urn:microsoft.com/office/officeart/2005/8/layout/orgChart1"/>
    <dgm:cxn modelId="{494E49D0-0267-41BB-819A-4675F3A3985E}" type="presParOf" srcId="{F6FFD05F-EE9D-47E3-BD8E-17831092FEEB}" destId="{65CC99F3-EFF4-40CA-AD5B-B4D8E3111155}" srcOrd="9" destOrd="0" presId="urn:microsoft.com/office/officeart/2005/8/layout/orgChart1"/>
    <dgm:cxn modelId="{11A52BB1-B4EB-4A2D-8248-00BE585606F4}" type="presParOf" srcId="{65CC99F3-EFF4-40CA-AD5B-B4D8E3111155}" destId="{88173AFF-031E-46C9-A2DF-45FA63BEA929}" srcOrd="0" destOrd="0" presId="urn:microsoft.com/office/officeart/2005/8/layout/orgChart1"/>
    <dgm:cxn modelId="{871F505B-406B-430F-94ED-9C56D0DC442E}" type="presParOf" srcId="{88173AFF-031E-46C9-A2DF-45FA63BEA929}" destId="{DC00A656-E91C-4192-AA87-6BC479C68805}" srcOrd="0" destOrd="0" presId="urn:microsoft.com/office/officeart/2005/8/layout/orgChart1"/>
    <dgm:cxn modelId="{349353BE-43E2-4BB7-A8F5-9E5F5643B1BA}" type="presParOf" srcId="{88173AFF-031E-46C9-A2DF-45FA63BEA929}" destId="{06DAB8B6-4878-4300-B50A-B1CF838015FE}" srcOrd="1" destOrd="0" presId="urn:microsoft.com/office/officeart/2005/8/layout/orgChart1"/>
    <dgm:cxn modelId="{5856E1E6-456E-454A-9211-B4D910499C93}" type="presParOf" srcId="{65CC99F3-EFF4-40CA-AD5B-B4D8E3111155}" destId="{3C66251A-6B84-4EBC-BF17-C870769D3068}" srcOrd="1" destOrd="0" presId="urn:microsoft.com/office/officeart/2005/8/layout/orgChart1"/>
    <dgm:cxn modelId="{E4CDA542-5987-4DEF-BDDF-0A8198190B4A}" type="presParOf" srcId="{65CC99F3-EFF4-40CA-AD5B-B4D8E3111155}" destId="{7783E977-75FF-4D06-B5DE-1F400CA0F07E}" srcOrd="2" destOrd="0" presId="urn:microsoft.com/office/officeart/2005/8/layout/orgChart1"/>
    <dgm:cxn modelId="{D29DB943-62F5-4FB3-AEE8-2AB5658CDA3B}" type="presParOf" srcId="{87FF0002-573A-4D37-8A74-96361727DB2E}" destId="{EF9DA15F-C682-45FB-80B5-04BE1EB67BA7}"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6FD248-0FBC-433B-850F-4114A8BDD245}">
      <dsp:nvSpPr>
        <dsp:cNvPr id="0" name=""/>
        <dsp:cNvSpPr/>
      </dsp:nvSpPr>
      <dsp:spPr>
        <a:xfrm>
          <a:off x="5770397" y="959772"/>
          <a:ext cx="4735018" cy="309528"/>
        </a:xfrm>
        <a:custGeom>
          <a:avLst/>
          <a:gdLst/>
          <a:ahLst/>
          <a:cxnLst/>
          <a:rect l="0" t="0" r="0" b="0"/>
          <a:pathLst>
            <a:path>
              <a:moveTo>
                <a:pt x="0" y="0"/>
              </a:moveTo>
              <a:lnTo>
                <a:pt x="0" y="154764"/>
              </a:lnTo>
              <a:lnTo>
                <a:pt x="4735018" y="154764"/>
              </a:lnTo>
              <a:lnTo>
                <a:pt x="4735018"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7E3ED9-B398-49C1-B348-93230223A7AE}">
      <dsp:nvSpPr>
        <dsp:cNvPr id="0" name=""/>
        <dsp:cNvSpPr/>
      </dsp:nvSpPr>
      <dsp:spPr>
        <a:xfrm>
          <a:off x="5770397" y="959772"/>
          <a:ext cx="2367509" cy="309528"/>
        </a:xfrm>
        <a:custGeom>
          <a:avLst/>
          <a:gdLst/>
          <a:ahLst/>
          <a:cxnLst/>
          <a:rect l="0" t="0" r="0" b="0"/>
          <a:pathLst>
            <a:path>
              <a:moveTo>
                <a:pt x="0" y="0"/>
              </a:moveTo>
              <a:lnTo>
                <a:pt x="0" y="154764"/>
              </a:lnTo>
              <a:lnTo>
                <a:pt x="2367509" y="154764"/>
              </a:lnTo>
              <a:lnTo>
                <a:pt x="2367509"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117D83-A39D-48E3-A354-E7A403F49176}">
      <dsp:nvSpPr>
        <dsp:cNvPr id="0" name=""/>
        <dsp:cNvSpPr/>
      </dsp:nvSpPr>
      <dsp:spPr>
        <a:xfrm>
          <a:off x="5724677" y="959772"/>
          <a:ext cx="91440" cy="309528"/>
        </a:xfrm>
        <a:custGeom>
          <a:avLst/>
          <a:gdLst/>
          <a:ahLst/>
          <a:cxnLst/>
          <a:rect l="0" t="0" r="0" b="0"/>
          <a:pathLst>
            <a:path>
              <a:moveTo>
                <a:pt x="45720" y="0"/>
              </a:moveTo>
              <a:lnTo>
                <a:pt x="4572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FDFE50-3A59-4AA7-B564-51A7D77314E6}">
      <dsp:nvSpPr>
        <dsp:cNvPr id="0" name=""/>
        <dsp:cNvSpPr/>
      </dsp:nvSpPr>
      <dsp:spPr>
        <a:xfrm>
          <a:off x="3429669" y="959772"/>
          <a:ext cx="2340727" cy="309528"/>
        </a:xfrm>
        <a:custGeom>
          <a:avLst/>
          <a:gdLst/>
          <a:ahLst/>
          <a:cxnLst/>
          <a:rect l="0" t="0" r="0" b="0"/>
          <a:pathLst>
            <a:path>
              <a:moveTo>
                <a:pt x="2340727" y="0"/>
              </a:moveTo>
              <a:lnTo>
                <a:pt x="2340727" y="154764"/>
              </a:lnTo>
              <a:lnTo>
                <a:pt x="0" y="154764"/>
              </a:lnTo>
              <a:lnTo>
                <a:pt x="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C26D28-0A64-4737-BED0-F9B3C31B8EAC}">
      <dsp:nvSpPr>
        <dsp:cNvPr id="0" name=""/>
        <dsp:cNvSpPr/>
      </dsp:nvSpPr>
      <dsp:spPr>
        <a:xfrm>
          <a:off x="205798" y="2058723"/>
          <a:ext cx="853547" cy="2744470"/>
        </a:xfrm>
        <a:custGeom>
          <a:avLst/>
          <a:gdLst/>
          <a:ahLst/>
          <a:cxnLst/>
          <a:rect l="0" t="0" r="0" b="0"/>
          <a:pathLst>
            <a:path>
              <a:moveTo>
                <a:pt x="0" y="0"/>
              </a:moveTo>
              <a:lnTo>
                <a:pt x="0" y="2744470"/>
              </a:lnTo>
              <a:lnTo>
                <a:pt x="853547" y="274447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5D384F-C47E-49EA-95A5-C3F03CFB601D}">
      <dsp:nvSpPr>
        <dsp:cNvPr id="0" name=""/>
        <dsp:cNvSpPr/>
      </dsp:nvSpPr>
      <dsp:spPr>
        <a:xfrm>
          <a:off x="205798" y="2058723"/>
          <a:ext cx="862096" cy="1037347"/>
        </a:xfrm>
        <a:custGeom>
          <a:avLst/>
          <a:gdLst/>
          <a:ahLst/>
          <a:cxnLst/>
          <a:rect l="0" t="0" r="0" b="0"/>
          <a:pathLst>
            <a:path>
              <a:moveTo>
                <a:pt x="0" y="0"/>
              </a:moveTo>
              <a:lnTo>
                <a:pt x="0" y="1037347"/>
              </a:lnTo>
              <a:lnTo>
                <a:pt x="862096" y="103734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BAE33B-0B1E-4881-9974-D609597B846C}">
      <dsp:nvSpPr>
        <dsp:cNvPr id="0" name=""/>
        <dsp:cNvSpPr/>
      </dsp:nvSpPr>
      <dsp:spPr>
        <a:xfrm>
          <a:off x="205798" y="2058723"/>
          <a:ext cx="862096" cy="1891049"/>
        </a:xfrm>
        <a:custGeom>
          <a:avLst/>
          <a:gdLst/>
          <a:ahLst/>
          <a:cxnLst/>
          <a:rect l="0" t="0" r="0" b="0"/>
          <a:pathLst>
            <a:path>
              <a:moveTo>
                <a:pt x="0" y="0"/>
              </a:moveTo>
              <a:lnTo>
                <a:pt x="0" y="1891049"/>
              </a:lnTo>
              <a:lnTo>
                <a:pt x="862096" y="189104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110D4C-187E-488B-AA95-350E14D095AE}">
      <dsp:nvSpPr>
        <dsp:cNvPr id="0" name=""/>
        <dsp:cNvSpPr/>
      </dsp:nvSpPr>
      <dsp:spPr>
        <a:xfrm>
          <a:off x="1028990" y="959772"/>
          <a:ext cx="4741407" cy="309528"/>
        </a:xfrm>
        <a:custGeom>
          <a:avLst/>
          <a:gdLst/>
          <a:ahLst/>
          <a:cxnLst/>
          <a:rect l="0" t="0" r="0" b="0"/>
          <a:pathLst>
            <a:path>
              <a:moveTo>
                <a:pt x="4741407" y="0"/>
              </a:moveTo>
              <a:lnTo>
                <a:pt x="4741407" y="154764"/>
              </a:lnTo>
              <a:lnTo>
                <a:pt x="0" y="154764"/>
              </a:lnTo>
              <a:lnTo>
                <a:pt x="0" y="30952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6294B0-4B20-4A4E-82F3-2D8E22A7FC20}">
      <dsp:nvSpPr>
        <dsp:cNvPr id="0" name=""/>
        <dsp:cNvSpPr/>
      </dsp:nvSpPr>
      <dsp:spPr>
        <a:xfrm>
          <a:off x="2488548" y="222799"/>
          <a:ext cx="6563697"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t>Director of Election &amp; Government Mail Services</a:t>
          </a:r>
        </a:p>
        <a:p>
          <a:pPr marL="0" lvl="0" indent="0" algn="ctr" defTabSz="889000">
            <a:lnSpc>
              <a:spcPct val="90000"/>
            </a:lnSpc>
            <a:spcBef>
              <a:spcPct val="0"/>
            </a:spcBef>
            <a:spcAft>
              <a:spcPct val="35000"/>
            </a:spcAft>
            <a:buNone/>
          </a:pPr>
          <a:r>
            <a:rPr lang="en-US" sz="2000" b="1" kern="1200" dirty="0"/>
            <a:t>Adrienne Marshall</a:t>
          </a:r>
        </a:p>
      </dsp:txBody>
      <dsp:txXfrm>
        <a:off x="2488548" y="222799"/>
        <a:ext cx="6563697" cy="736972"/>
      </dsp:txXfrm>
    </dsp:sp>
    <dsp:sp modelId="{01262D4A-EEFB-4EF2-B3C0-132294421309}">
      <dsp:nvSpPr>
        <dsp:cNvPr id="0" name=""/>
        <dsp:cNvSpPr/>
      </dsp:nvSpPr>
      <dsp:spPr>
        <a:xfrm>
          <a:off x="0"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ct val="35000"/>
            </a:spcAft>
            <a:buNone/>
          </a:pPr>
          <a:r>
            <a:rPr lang="en-US" sz="900" b="1" kern="1200" dirty="0"/>
            <a:t>Manager, Policy &amp; Strategy</a:t>
          </a:r>
        </a:p>
        <a:p>
          <a:pPr marL="0" lvl="0" indent="0" algn="ctr" defTabSz="400050">
            <a:lnSpc>
              <a:spcPct val="100000"/>
            </a:lnSpc>
            <a:spcBef>
              <a:spcPct val="0"/>
            </a:spcBef>
            <a:spcAft>
              <a:spcPct val="35000"/>
            </a:spcAft>
            <a:buNone/>
          </a:pPr>
          <a:r>
            <a:rPr lang="en-US" sz="1400" b="1" kern="1200" dirty="0"/>
            <a:t>Dan Bentley</a:t>
          </a:r>
        </a:p>
      </dsp:txBody>
      <dsp:txXfrm>
        <a:off x="0" y="1269300"/>
        <a:ext cx="2057980" cy="789422"/>
      </dsp:txXfrm>
    </dsp:sp>
    <dsp:sp modelId="{1C295451-E58A-477A-9136-BD92CBCADAF3}">
      <dsp:nvSpPr>
        <dsp:cNvPr id="0" name=""/>
        <dsp:cNvSpPr/>
      </dsp:nvSpPr>
      <dsp:spPr>
        <a:xfrm>
          <a:off x="1067894" y="3581286"/>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mp; Govt. Mail Specialist</a:t>
          </a:r>
        </a:p>
        <a:p>
          <a:pPr marL="0" lvl="0" indent="0" algn="ctr" defTabSz="400050">
            <a:lnSpc>
              <a:spcPct val="90000"/>
            </a:lnSpc>
            <a:spcBef>
              <a:spcPct val="0"/>
            </a:spcBef>
            <a:spcAft>
              <a:spcPct val="35000"/>
            </a:spcAft>
            <a:buNone/>
          </a:pPr>
          <a:r>
            <a:rPr lang="en-US" sz="1400" b="1" kern="1200" dirty="0"/>
            <a:t>Tiffany Todd</a:t>
          </a:r>
        </a:p>
      </dsp:txBody>
      <dsp:txXfrm>
        <a:off x="1067894" y="3581286"/>
        <a:ext cx="2733062" cy="736972"/>
      </dsp:txXfrm>
    </dsp:sp>
    <dsp:sp modelId="{37E86A98-605C-4E37-9022-7047358134AD}">
      <dsp:nvSpPr>
        <dsp:cNvPr id="0" name=""/>
        <dsp:cNvSpPr/>
      </dsp:nvSpPr>
      <dsp:spPr>
        <a:xfrm>
          <a:off x="1067894" y="2727584"/>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nd Govt. Mail Specialist</a:t>
          </a:r>
        </a:p>
        <a:p>
          <a:pPr marL="0" lvl="0" indent="0" algn="ctr" defTabSz="400050">
            <a:lnSpc>
              <a:spcPct val="90000"/>
            </a:lnSpc>
            <a:spcBef>
              <a:spcPct val="0"/>
            </a:spcBef>
            <a:spcAft>
              <a:spcPct val="35000"/>
            </a:spcAft>
            <a:buNone/>
          </a:pPr>
          <a:r>
            <a:rPr lang="en-US" sz="1400" b="1" kern="1200" dirty="0"/>
            <a:t>Vacant</a:t>
          </a:r>
        </a:p>
      </dsp:txBody>
      <dsp:txXfrm>
        <a:off x="1067894" y="2727584"/>
        <a:ext cx="2733062" cy="736972"/>
      </dsp:txXfrm>
    </dsp:sp>
    <dsp:sp modelId="{1C63D294-9FC4-4295-83AD-450C8A9719AC}">
      <dsp:nvSpPr>
        <dsp:cNvPr id="0" name=""/>
        <dsp:cNvSpPr/>
      </dsp:nvSpPr>
      <dsp:spPr>
        <a:xfrm>
          <a:off x="1059345" y="4434707"/>
          <a:ext cx="2733062" cy="7369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b="1" kern="1200" dirty="0"/>
            <a:t>Election and Govt. Mail Specialist</a:t>
          </a:r>
        </a:p>
        <a:p>
          <a:pPr marL="0" lvl="0" indent="0" algn="ctr" defTabSz="400050">
            <a:lnSpc>
              <a:spcPct val="90000"/>
            </a:lnSpc>
            <a:spcBef>
              <a:spcPct val="0"/>
            </a:spcBef>
            <a:spcAft>
              <a:spcPct val="35000"/>
            </a:spcAft>
            <a:buNone/>
          </a:pPr>
          <a:r>
            <a:rPr lang="en-US" sz="1400" b="1" kern="1200" dirty="0"/>
            <a:t>Emily Matyas</a:t>
          </a:r>
        </a:p>
      </dsp:txBody>
      <dsp:txXfrm>
        <a:off x="1059345" y="4434707"/>
        <a:ext cx="2733062" cy="736972"/>
      </dsp:txXfrm>
    </dsp:sp>
    <dsp:sp modelId="{D8279E23-A487-4A1F-AA87-E500C297E4B6}">
      <dsp:nvSpPr>
        <dsp:cNvPr id="0" name=""/>
        <dsp:cNvSpPr/>
      </dsp:nvSpPr>
      <dsp:spPr>
        <a:xfrm>
          <a:off x="2400679"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endParaRPr lang="en-US" sz="900" b="1" kern="1200" dirty="0"/>
        </a:p>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Lisa Del Rio</a:t>
          </a:r>
        </a:p>
        <a:p>
          <a:pPr marL="0" lvl="0" indent="0" algn="ctr" defTabSz="400050">
            <a:lnSpc>
              <a:spcPct val="100000"/>
            </a:lnSpc>
            <a:spcBef>
              <a:spcPct val="0"/>
            </a:spcBef>
            <a:spcAft>
              <a:spcPts val="600"/>
            </a:spcAft>
            <a:buNone/>
          </a:pPr>
          <a:endParaRPr lang="en-US" sz="900" b="1" kern="1200" dirty="0"/>
        </a:p>
      </dsp:txBody>
      <dsp:txXfrm>
        <a:off x="2400679" y="1269300"/>
        <a:ext cx="2057980" cy="789422"/>
      </dsp:txXfrm>
    </dsp:sp>
    <dsp:sp modelId="{37B66DA6-39A2-400D-A29F-B18CA50582C4}">
      <dsp:nvSpPr>
        <dsp:cNvPr id="0" name=""/>
        <dsp:cNvSpPr/>
      </dsp:nvSpPr>
      <dsp:spPr>
        <a:xfrm>
          <a:off x="4741407"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Jerod Siddle</a:t>
          </a:r>
        </a:p>
      </dsp:txBody>
      <dsp:txXfrm>
        <a:off x="4741407" y="1269300"/>
        <a:ext cx="2057980" cy="789422"/>
      </dsp:txXfrm>
    </dsp:sp>
    <dsp:sp modelId="{A1B2F83E-E147-44B0-A7B3-8158FEC32A49}">
      <dsp:nvSpPr>
        <dsp:cNvPr id="0" name=""/>
        <dsp:cNvSpPr/>
      </dsp:nvSpPr>
      <dsp:spPr>
        <a:xfrm>
          <a:off x="7108916"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Daniel A. Garcia</a:t>
          </a:r>
        </a:p>
      </dsp:txBody>
      <dsp:txXfrm>
        <a:off x="7108916" y="1269300"/>
        <a:ext cx="2057980" cy="789422"/>
      </dsp:txXfrm>
    </dsp:sp>
    <dsp:sp modelId="{DC00A656-E91C-4192-AA87-6BC479C68805}">
      <dsp:nvSpPr>
        <dsp:cNvPr id="0" name=""/>
        <dsp:cNvSpPr/>
      </dsp:nvSpPr>
      <dsp:spPr>
        <a:xfrm>
          <a:off x="9476425" y="1269300"/>
          <a:ext cx="2057980" cy="78942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100000"/>
            </a:lnSpc>
            <a:spcBef>
              <a:spcPct val="0"/>
            </a:spcBef>
            <a:spcAft>
              <a:spcPts val="600"/>
            </a:spcAft>
            <a:buNone/>
          </a:pPr>
          <a:r>
            <a:rPr lang="en-US" sz="900" b="1" kern="1200" dirty="0"/>
            <a:t>Election &amp; Govt. Mail Specialist</a:t>
          </a:r>
        </a:p>
        <a:p>
          <a:pPr marL="0" lvl="0" indent="0" algn="ctr" defTabSz="400050">
            <a:lnSpc>
              <a:spcPct val="100000"/>
            </a:lnSpc>
            <a:spcBef>
              <a:spcPct val="0"/>
            </a:spcBef>
            <a:spcAft>
              <a:spcPts val="600"/>
            </a:spcAft>
            <a:buNone/>
          </a:pPr>
          <a:r>
            <a:rPr lang="en-US" sz="1400" b="1" kern="1200" dirty="0"/>
            <a:t>Steven J. Carter</a:t>
          </a:r>
        </a:p>
      </dsp:txBody>
      <dsp:txXfrm>
        <a:off x="9476425" y="1269300"/>
        <a:ext cx="2057980" cy="78942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41" y="0"/>
            <a:ext cx="3037840" cy="466434"/>
          </a:xfrm>
          <a:prstGeom prst="rect">
            <a:avLst/>
          </a:prstGeom>
        </p:spPr>
        <p:txBody>
          <a:bodyPr vert="horz" lIns="93177" tIns="46589" rIns="93177" bIns="46589" rtlCol="0"/>
          <a:lstStyle>
            <a:lvl1pPr algn="r">
              <a:defRPr sz="1200"/>
            </a:lvl1pPr>
          </a:lstStyle>
          <a:p>
            <a:fld id="{80D36763-E7D7-414A-B162-E93D645F408F}" type="datetimeFigureOut">
              <a:rPr lang="en-US" smtClean="0"/>
              <a:t>12/12/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8829973"/>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1" y="8829973"/>
            <a:ext cx="3037840" cy="466433"/>
          </a:xfrm>
          <a:prstGeom prst="rect">
            <a:avLst/>
          </a:prstGeom>
        </p:spPr>
        <p:txBody>
          <a:bodyPr vert="horz" lIns="93177" tIns="46589" rIns="93177" bIns="46589" rtlCol="0" anchor="b"/>
          <a:lstStyle>
            <a:lvl1pPr algn="r">
              <a:defRPr sz="1200"/>
            </a:lvl1pPr>
          </a:lstStyle>
          <a:p>
            <a:fld id="{9D57DCC2-3CC6-4E32-B1D4-0085D3CBC9F1}" type="slidenum">
              <a:rPr lang="en-US" smtClean="0"/>
              <a:t>‹#›</a:t>
            </a:fld>
            <a:endParaRPr lang="en-US" dirty="0"/>
          </a:p>
        </p:txBody>
      </p:sp>
    </p:spTree>
    <p:extLst>
      <p:ext uri="{BB962C8B-B14F-4D97-AF65-F5344CB8AC3E}">
        <p14:creationId xmlns:p14="http://schemas.microsoft.com/office/powerpoint/2010/main" val="130380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xfrm>
            <a:off x="952510" y="4416426"/>
            <a:ext cx="5236372"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7807249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0</a:t>
            </a:fld>
            <a:endParaRPr lang="en-US"/>
          </a:p>
        </p:txBody>
      </p:sp>
    </p:spTree>
    <p:extLst>
      <p:ext uri="{BB962C8B-B14F-4D97-AF65-F5344CB8AC3E}">
        <p14:creationId xmlns:p14="http://schemas.microsoft.com/office/powerpoint/2010/main" val="1464750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38E328-E782-4B13-BD48-C9854791CB04}" type="slidenum">
              <a:rPr lang="en-US" smtClean="0"/>
              <a:t>11</a:t>
            </a:fld>
            <a:endParaRPr lang="en-US"/>
          </a:p>
        </p:txBody>
      </p:sp>
    </p:spTree>
    <p:extLst>
      <p:ext uri="{BB962C8B-B14F-4D97-AF65-F5344CB8AC3E}">
        <p14:creationId xmlns:p14="http://schemas.microsoft.com/office/powerpoint/2010/main" val="1181265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2</a:t>
            </a:fld>
            <a:endParaRPr lang="en-US"/>
          </a:p>
        </p:txBody>
      </p:sp>
    </p:spTree>
    <p:extLst>
      <p:ext uri="{BB962C8B-B14F-4D97-AF65-F5344CB8AC3E}">
        <p14:creationId xmlns:p14="http://schemas.microsoft.com/office/powerpoint/2010/main" val="2803665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7DCC2-3CC6-4E32-B1D4-0085D3CBC9F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4560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xfrm>
            <a:off x="701675" y="287338"/>
            <a:ext cx="5575300" cy="3136900"/>
          </a:xfrm>
          <a:ln/>
        </p:spPr>
      </p:sp>
      <p:sp>
        <p:nvSpPr>
          <p:cNvPr id="14339" name="Notes Placeholder 2"/>
          <p:cNvSpPr>
            <a:spLocks noGrp="1"/>
          </p:cNvSpPr>
          <p:nvPr>
            <p:ph type="body" idx="1"/>
          </p:nvPr>
        </p:nvSpPr>
        <p:spPr>
          <a:xfrm>
            <a:off x="701675" y="3585433"/>
            <a:ext cx="5608320" cy="3660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2984532" fontAlgn="base">
              <a:defRPr/>
            </a:pPr>
            <a:endParaRPr lang="en-US" sz="1050" b="0" i="0" dirty="0">
              <a:solidFill>
                <a:srgbClr val="000000"/>
              </a:solidFill>
              <a:latin typeface="Arial" panose="020B0604020202020204" pitchFamily="34" charset="0"/>
              <a:cs typeface="Arial" panose="020B0604020202020204" pitchFamily="34" charset="0"/>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0333735-0F4A-4D13-93F8-FC9963C1B522}" type="slidenum">
              <a:rPr lang="en-US" altLang="en-US" smtClean="0">
                <a:solidFill>
                  <a:srgbClr val="000000"/>
                </a:solidFill>
                <a:cs typeface="Arial" panose="020B0604020202020204" pitchFamily="34" charset="0"/>
              </a:rPr>
              <a:pPr>
                <a:spcBef>
                  <a:spcPct val="0"/>
                </a:spcBef>
              </a:pPr>
              <a:t>14</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39494669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1603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00038"/>
            <a:ext cx="5575300" cy="3136900"/>
          </a:xfrm>
        </p:spPr>
      </p:sp>
      <p:sp>
        <p:nvSpPr>
          <p:cNvPr id="3" name="Notes Placeholder 2"/>
          <p:cNvSpPr>
            <a:spLocks noGrp="1"/>
          </p:cNvSpPr>
          <p:nvPr>
            <p:ph type="body" idx="1"/>
          </p:nvPr>
        </p:nvSpPr>
        <p:spPr>
          <a:xfrm>
            <a:off x="684530" y="3630828"/>
            <a:ext cx="5608320" cy="3660458"/>
          </a:xfrm>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6</a:t>
            </a:fld>
            <a:endParaRPr lang="en-US" dirty="0"/>
          </a:p>
        </p:txBody>
      </p:sp>
    </p:spTree>
    <p:extLst>
      <p:ext uri="{BB962C8B-B14F-4D97-AF65-F5344CB8AC3E}">
        <p14:creationId xmlns:p14="http://schemas.microsoft.com/office/powerpoint/2010/main" val="196988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1434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0333735-0F4A-4D13-93F8-FC9963C1B522}" type="slidenum">
              <a:rPr lang="en-US" altLang="en-US" smtClean="0">
                <a:solidFill>
                  <a:srgbClr val="000000"/>
                </a:solidFill>
                <a:cs typeface="Arial" panose="020B0604020202020204" pitchFamily="34" charset="0"/>
              </a:rPr>
              <a:pPr>
                <a:spcBef>
                  <a:spcPct val="0"/>
                </a:spcBef>
              </a:pPr>
              <a:t>17</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551730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733425" y="279400"/>
            <a:ext cx="5575300" cy="3136900"/>
          </a:xfrm>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spcBef>
                <a:spcPts val="0"/>
              </a:spcBef>
              <a:spcAft>
                <a:spcPts val="0"/>
              </a:spcAft>
              <a:buFont typeface="Arial" panose="020B0604020202020204" pitchFamily="34" charset="0"/>
              <a:buNone/>
              <a:tabLst>
                <a:tab pos="228600" algn="l"/>
              </a:tabLst>
            </a:pPr>
            <a:endParaRPr lang="en-US" altLang="en-US" sz="1000"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8</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9861077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19</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1601616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17373695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717550" y="584200"/>
            <a:ext cx="5575300" cy="3136900"/>
          </a:xfrm>
          <a:ln/>
        </p:spPr>
      </p:sp>
      <p:sp>
        <p:nvSpPr>
          <p:cNvPr id="34819" name="Notes Placeholder 2"/>
          <p:cNvSpPr>
            <a:spLocks noGrp="1"/>
          </p:cNvSpPr>
          <p:nvPr>
            <p:ph type="body" idx="1"/>
          </p:nvPr>
        </p:nvSpPr>
        <p:spPr>
          <a:xfrm>
            <a:off x="684530" y="3948598"/>
            <a:ext cx="5608320" cy="3660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l" rtl="0" fontAlgn="base">
              <a:buFont typeface="Arial" panose="020B0604020202020204" pitchFamily="34" charset="0"/>
              <a:buNone/>
            </a:pPr>
            <a:endParaRPr lang="en-US" altLang="en-US" sz="1800" dirty="0">
              <a:latin typeface="Arial" panose="020B0604020202020204" pitchFamily="34" charset="0"/>
              <a:cs typeface="Arial" panose="020B0604020202020204" pitchFamily="34" charset="0"/>
            </a:endParaRPr>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0</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918944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733425" y="312738"/>
            <a:ext cx="5575300" cy="3136900"/>
          </a:xfrm>
          <a:ln/>
        </p:spPr>
      </p:sp>
      <p:sp>
        <p:nvSpPr>
          <p:cNvPr id="34819" name="Notes Placeholder 2"/>
          <p:cNvSpPr>
            <a:spLocks noGrp="1"/>
          </p:cNvSpPr>
          <p:nvPr>
            <p:ph type="body" idx="1"/>
          </p:nvPr>
        </p:nvSpPr>
        <p:spPr>
          <a:xfrm>
            <a:off x="733425" y="3767015"/>
            <a:ext cx="5608320" cy="3660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2984532">
              <a:defRPr/>
            </a:pPr>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1</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2708357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733425" y="279400"/>
            <a:ext cx="5575300" cy="3136900"/>
          </a:xfrm>
          <a:ln/>
        </p:spPr>
      </p:sp>
      <p:sp>
        <p:nvSpPr>
          <p:cNvPr id="34819" name="Notes Placeholder 2"/>
          <p:cNvSpPr>
            <a:spLocks noGrp="1"/>
          </p:cNvSpPr>
          <p:nvPr>
            <p:ph type="body" idx="1"/>
          </p:nvPr>
        </p:nvSpPr>
        <p:spPr>
          <a:xfrm>
            <a:off x="733425" y="3617858"/>
            <a:ext cx="5608320" cy="3660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fontAlgn="base">
              <a:buNone/>
            </a:pPr>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2</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11092549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1675" y="319088"/>
            <a:ext cx="5575300" cy="3136900"/>
          </a:xfrm>
        </p:spPr>
      </p:sp>
      <p:sp>
        <p:nvSpPr>
          <p:cNvPr id="3" name="Notes Placeholder 2"/>
          <p:cNvSpPr>
            <a:spLocks noGrp="1"/>
          </p:cNvSpPr>
          <p:nvPr>
            <p:ph type="body" idx="1"/>
          </p:nvPr>
        </p:nvSpPr>
        <p:spPr>
          <a:xfrm>
            <a:off x="752922" y="3676224"/>
            <a:ext cx="5608320" cy="3660458"/>
          </a:xfrm>
        </p:spPr>
        <p:txBody>
          <a:bodyPr/>
          <a:lstStyle/>
          <a:p>
            <a:endParaRPr lang="en-US" dirty="0"/>
          </a:p>
        </p:txBody>
      </p:sp>
      <p:sp>
        <p:nvSpPr>
          <p:cNvPr id="4" name="Slide Number Placeholder 3"/>
          <p:cNvSpPr>
            <a:spLocks noGrp="1"/>
          </p:cNvSpPr>
          <p:nvPr>
            <p:ph type="sldNum" sz="quarter" idx="5"/>
          </p:nvPr>
        </p:nvSpPr>
        <p:spPr/>
        <p:txBody>
          <a:bodyPr/>
          <a:lstStyle/>
          <a:p>
            <a:fld id="{9D57DCC2-3CC6-4E32-B1D4-0085D3CBC9F1}" type="slidenum">
              <a:rPr lang="en-US" smtClean="0"/>
              <a:t>23</a:t>
            </a:fld>
            <a:endParaRPr lang="en-US" dirty="0"/>
          </a:p>
        </p:txBody>
      </p:sp>
    </p:spTree>
    <p:extLst>
      <p:ext uri="{BB962C8B-B14F-4D97-AF65-F5344CB8AC3E}">
        <p14:creationId xmlns:p14="http://schemas.microsoft.com/office/powerpoint/2010/main" val="2082278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7DCC2-3CC6-4E32-B1D4-0085D3CBC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4198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300038"/>
            <a:ext cx="5575300" cy="3136900"/>
          </a:xfrm>
        </p:spPr>
      </p:sp>
      <p:sp>
        <p:nvSpPr>
          <p:cNvPr id="3" name="Notes Placeholder 2"/>
          <p:cNvSpPr>
            <a:spLocks noGrp="1"/>
          </p:cNvSpPr>
          <p:nvPr>
            <p:ph type="body" idx="1"/>
          </p:nvPr>
        </p:nvSpPr>
        <p:spPr>
          <a:xfrm>
            <a:off x="700405" y="3676224"/>
            <a:ext cx="5608320" cy="3660458"/>
          </a:xfrm>
        </p:spPr>
        <p:txBody>
          <a:bodyPr/>
          <a:lstStyle/>
          <a:p>
            <a:endParaRPr lang="en-US" dirty="0"/>
          </a:p>
        </p:txBody>
      </p:sp>
      <p:sp>
        <p:nvSpPr>
          <p:cNvPr id="4" name="Slide Number Placeholder 3"/>
          <p:cNvSpPr>
            <a:spLocks noGrp="1"/>
          </p:cNvSpPr>
          <p:nvPr>
            <p:ph type="sldNum" sz="quarter" idx="10"/>
          </p:nvPr>
        </p:nvSpPr>
        <p:spPr/>
        <p:txBody>
          <a:bodyPr/>
          <a:lstStyle/>
          <a:p>
            <a:fld id="{9D57DCC2-3CC6-4E32-B1D4-0085D3CBC9F1}" type="slidenum">
              <a:rPr lang="en-US" smtClean="0"/>
              <a:t>25</a:t>
            </a:fld>
            <a:endParaRPr lang="en-US" dirty="0"/>
          </a:p>
        </p:txBody>
      </p:sp>
    </p:spTree>
    <p:extLst>
      <p:ext uri="{BB962C8B-B14F-4D97-AF65-F5344CB8AC3E}">
        <p14:creationId xmlns:p14="http://schemas.microsoft.com/office/powerpoint/2010/main" val="11143747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26</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0301448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a:xfrm>
            <a:off x="952510" y="4416426"/>
            <a:ext cx="5236372"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4252432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1363" indent="-284163" defTabSz="930275">
              <a:spcBef>
                <a:spcPct val="30000"/>
              </a:spcBef>
              <a:defRPr sz="1200">
                <a:solidFill>
                  <a:schemeClr val="tx1"/>
                </a:solidFill>
                <a:latin typeface="Arial" panose="020B0604020202020204" pitchFamily="34" charset="0"/>
              </a:defRPr>
            </a:lvl2pPr>
            <a:lvl3pPr marL="1141413" indent="-227013" defTabSz="930275">
              <a:spcBef>
                <a:spcPct val="30000"/>
              </a:spcBef>
              <a:defRPr sz="1200">
                <a:solidFill>
                  <a:schemeClr val="tx1"/>
                </a:solidFill>
                <a:latin typeface="Arial" panose="020B0604020202020204" pitchFamily="34" charset="0"/>
              </a:defRPr>
            </a:lvl3pPr>
            <a:lvl4pPr marL="1598613" indent="-227013" defTabSz="930275">
              <a:spcBef>
                <a:spcPct val="30000"/>
              </a:spcBef>
              <a:defRPr sz="1200">
                <a:solidFill>
                  <a:schemeClr val="tx1"/>
                </a:solidFill>
                <a:latin typeface="Arial" panose="020B0604020202020204" pitchFamily="34" charset="0"/>
              </a:defRPr>
            </a:lvl4pPr>
            <a:lvl5pPr marL="2055813" indent="-227013" defTabSz="930275">
              <a:spcBef>
                <a:spcPct val="30000"/>
              </a:spcBef>
              <a:defRPr sz="1200">
                <a:solidFill>
                  <a:schemeClr val="tx1"/>
                </a:solidFill>
                <a:latin typeface="Arial" panose="020B0604020202020204" pitchFamily="34" charset="0"/>
              </a:defRPr>
            </a:lvl5pPr>
            <a:lvl6pPr marL="2513013" indent="-227013" defTabSz="930275" eaLnBrk="0" fontAlgn="base" hangingPunct="0">
              <a:spcBef>
                <a:spcPct val="30000"/>
              </a:spcBef>
              <a:spcAft>
                <a:spcPct val="0"/>
              </a:spcAft>
              <a:defRPr sz="1200">
                <a:solidFill>
                  <a:schemeClr val="tx1"/>
                </a:solidFill>
                <a:latin typeface="Arial" panose="020B0604020202020204" pitchFamily="34" charset="0"/>
              </a:defRPr>
            </a:lvl6pPr>
            <a:lvl7pPr marL="2970213" indent="-227013" defTabSz="930275" eaLnBrk="0" fontAlgn="base" hangingPunct="0">
              <a:spcBef>
                <a:spcPct val="30000"/>
              </a:spcBef>
              <a:spcAft>
                <a:spcPct val="0"/>
              </a:spcAft>
              <a:defRPr sz="1200">
                <a:solidFill>
                  <a:schemeClr val="tx1"/>
                </a:solidFill>
                <a:latin typeface="Arial" panose="020B0604020202020204" pitchFamily="34" charset="0"/>
              </a:defRPr>
            </a:lvl7pPr>
            <a:lvl8pPr marL="3427413" indent="-227013" defTabSz="930275" eaLnBrk="0" fontAlgn="base" hangingPunct="0">
              <a:spcBef>
                <a:spcPct val="30000"/>
              </a:spcBef>
              <a:spcAft>
                <a:spcPct val="0"/>
              </a:spcAft>
              <a:defRPr sz="1200">
                <a:solidFill>
                  <a:schemeClr val="tx1"/>
                </a:solidFill>
                <a:latin typeface="Arial" panose="020B0604020202020204" pitchFamily="34" charset="0"/>
              </a:defRPr>
            </a:lvl8pPr>
            <a:lvl9pPr marL="3884613" indent="-227013" defTabSz="9302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91B2323-6866-41C1-BF3E-683D3DB484B5}" type="slidenum">
              <a:rPr lang="en-US" altLang="en-US" smtClean="0">
                <a:solidFill>
                  <a:srgbClr val="000000"/>
                </a:solidFill>
                <a:cs typeface="Arial" panose="020B0604020202020204" pitchFamily="34" charset="0"/>
              </a:rPr>
              <a:pPr>
                <a:spcBef>
                  <a:spcPct val="0"/>
                </a:spcBef>
              </a:pPr>
              <a:t>3</a:t>
            </a:fld>
            <a:endParaRPr lang="en-US" altLang="en-US">
              <a:solidFill>
                <a:srgbClr val="000000"/>
              </a:solidFill>
              <a:cs typeface="Arial" panose="020B0604020202020204" pitchFamily="34" charset="0"/>
            </a:endParaRPr>
          </a:p>
        </p:txBody>
      </p:sp>
    </p:spTree>
    <p:extLst>
      <p:ext uri="{BB962C8B-B14F-4D97-AF65-F5344CB8AC3E}">
        <p14:creationId xmlns:p14="http://schemas.microsoft.com/office/powerpoint/2010/main" val="3928124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38E328-E782-4B13-BD48-C9854791CB04}" type="slidenum">
              <a:rPr lang="en-US" smtClean="0"/>
              <a:t>4</a:t>
            </a:fld>
            <a:endParaRPr lang="en-US"/>
          </a:p>
        </p:txBody>
      </p:sp>
    </p:spTree>
    <p:extLst>
      <p:ext uri="{BB962C8B-B14F-4D97-AF65-F5344CB8AC3E}">
        <p14:creationId xmlns:p14="http://schemas.microsoft.com/office/powerpoint/2010/main" val="1432887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9D57DCC2-3CC6-4E32-B1D4-0085D3CBC9F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3595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9D57DCC2-3CC6-4E32-B1D4-0085D3CBC9F1}"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144238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latin typeface="Arial" panose="020B0604020202020204" pitchFamily="34" charset="0"/>
            </a:endParaRPr>
          </a:p>
        </p:txBody>
      </p:sp>
      <p:sp>
        <p:nvSpPr>
          <p:cNvPr id="962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defRPr>
                <a:solidFill>
                  <a:schemeClr val="tx1"/>
                </a:solidFill>
                <a:latin typeface="Calibri" panose="020F0502020204030204" pitchFamily="34" charset="0"/>
                <a:cs typeface="Arial" panose="020B0604020202020204" pitchFamily="34" charset="0"/>
              </a:defRPr>
            </a:lvl1pPr>
            <a:lvl2pPr marL="742950" indent="-285750" defTabSz="917575">
              <a:defRPr>
                <a:solidFill>
                  <a:schemeClr val="tx1"/>
                </a:solidFill>
                <a:latin typeface="Calibri" panose="020F0502020204030204" pitchFamily="34" charset="0"/>
                <a:cs typeface="Arial" panose="020B0604020202020204" pitchFamily="34" charset="0"/>
              </a:defRPr>
            </a:lvl2pPr>
            <a:lvl3pPr marL="1143000" indent="-228600" defTabSz="917575">
              <a:defRPr>
                <a:solidFill>
                  <a:schemeClr val="tx1"/>
                </a:solidFill>
                <a:latin typeface="Calibri" panose="020F0502020204030204" pitchFamily="34" charset="0"/>
                <a:cs typeface="Arial" panose="020B0604020202020204" pitchFamily="34" charset="0"/>
              </a:defRPr>
            </a:lvl3pPr>
            <a:lvl4pPr marL="1600200" indent="-228600" defTabSz="917575">
              <a:defRPr>
                <a:solidFill>
                  <a:schemeClr val="tx1"/>
                </a:solidFill>
                <a:latin typeface="Calibri" panose="020F0502020204030204" pitchFamily="34" charset="0"/>
                <a:cs typeface="Arial" panose="020B0604020202020204" pitchFamily="34" charset="0"/>
              </a:defRPr>
            </a:lvl4pPr>
            <a:lvl5pPr marL="2057400" indent="-228600" defTabSz="917575">
              <a:defRPr>
                <a:solidFill>
                  <a:schemeClr val="tx1"/>
                </a:solidFill>
                <a:latin typeface="Calibri" panose="020F0502020204030204" pitchFamily="34" charset="0"/>
                <a:cs typeface="Arial" panose="020B0604020202020204" pitchFamily="34" charset="0"/>
              </a:defRPr>
            </a:lvl5pPr>
            <a:lvl6pPr marL="2514600" indent="-228600" defTabSz="9175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175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175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175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CC792FCB-FDEF-407E-B655-1336B930605C}" type="slidenum">
              <a:rPr lang="en-US" altLang="en-US" smtClean="0">
                <a:latin typeface="Arial" panose="020B0604020202020204" pitchFamily="34" charset="0"/>
              </a:rPr>
              <a:pPr/>
              <a:t>7</a:t>
            </a:fld>
            <a:endParaRPr lang="en-US" altLang="en-US" dirty="0">
              <a:latin typeface="Arial" panose="020B0604020202020204" pitchFamily="34" charset="0"/>
            </a:endParaRPr>
          </a:p>
        </p:txBody>
      </p:sp>
    </p:spTree>
    <p:extLst>
      <p:ext uri="{BB962C8B-B14F-4D97-AF65-F5344CB8AC3E}">
        <p14:creationId xmlns:p14="http://schemas.microsoft.com/office/powerpoint/2010/main" val="3680378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8</a:t>
            </a:fld>
            <a:endParaRPr lang="en-US"/>
          </a:p>
        </p:txBody>
      </p:sp>
    </p:spTree>
    <p:extLst>
      <p:ext uri="{BB962C8B-B14F-4D97-AF65-F5344CB8AC3E}">
        <p14:creationId xmlns:p14="http://schemas.microsoft.com/office/powerpoint/2010/main" val="2225238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57DCC2-3CC6-4E32-B1D4-0085D3CBC9F1}" type="slidenum">
              <a:rPr lang="en-US" smtClean="0"/>
              <a:t>9</a:t>
            </a:fld>
            <a:endParaRPr lang="en-US"/>
          </a:p>
        </p:txBody>
      </p:sp>
    </p:spTree>
    <p:extLst>
      <p:ext uri="{BB962C8B-B14F-4D97-AF65-F5344CB8AC3E}">
        <p14:creationId xmlns:p14="http://schemas.microsoft.com/office/powerpoint/2010/main" val="3644028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D707304A-433C-4B5B-A507-AD407BE4ED27}" type="slidenum">
              <a:rPr lang="en-US" smtClean="0"/>
              <a:t>‹#›</a:t>
            </a:fld>
            <a:endParaRPr lang="en-US" dirty="0"/>
          </a:p>
        </p:txBody>
      </p:sp>
    </p:spTree>
    <p:extLst>
      <p:ext uri="{BB962C8B-B14F-4D97-AF65-F5344CB8AC3E}">
        <p14:creationId xmlns:p14="http://schemas.microsoft.com/office/powerpoint/2010/main" val="1343431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2383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506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498554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47800"/>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832263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143001" y="1905001"/>
            <a:ext cx="5077884" cy="4570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24084" y="1905001"/>
            <a:ext cx="5080000" cy="4570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23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Header">
    <p:spTree>
      <p:nvGrpSpPr>
        <p:cNvPr id="1" name=""/>
        <p:cNvGrpSpPr/>
        <p:nvPr/>
      </p:nvGrpSpPr>
      <p:grpSpPr>
        <a:xfrm>
          <a:off x="0" y="0"/>
          <a:ext cx="0" cy="0"/>
          <a:chOff x="0" y="0"/>
          <a:chExt cx="0" cy="0"/>
        </a:xfrm>
      </p:grpSpPr>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4"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4134379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614950" y="2001251"/>
            <a:ext cx="5176252" cy="4399549"/>
          </a:xfrm>
          <a:prstGeom prst="rect">
            <a:avLst/>
          </a:prstGeom>
        </p:spPr>
        <p:txBody>
          <a:bodyPr/>
          <a:lstStyle>
            <a:lvl1pPr marL="0" indent="0">
              <a:lnSpc>
                <a:spcPct val="90000"/>
              </a:lnSpc>
              <a:spcBef>
                <a:spcPts val="0"/>
              </a:spcBef>
              <a:spcAft>
                <a:spcPts val="563"/>
              </a:spcAft>
              <a:buNone/>
              <a:defRPr sz="1875" b="0">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962918"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hasCustomPrompt="1"/>
          </p:nvPr>
        </p:nvSpPr>
        <p:spPr>
          <a:xfrm>
            <a:off x="614950" y="1524000"/>
            <a:ext cx="5176252" cy="401051"/>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Sub-head</a:t>
            </a:r>
          </a:p>
        </p:txBody>
      </p:sp>
      <p:sp>
        <p:nvSpPr>
          <p:cNvPr id="9" name="Text Placeholder 5"/>
          <p:cNvSpPr>
            <a:spLocks noGrp="1"/>
          </p:cNvSpPr>
          <p:nvPr>
            <p:ph type="body" sz="quarter" idx="12" hasCustomPrompt="1"/>
          </p:nvPr>
        </p:nvSpPr>
        <p:spPr>
          <a:xfrm>
            <a:off x="6400800" y="2001251"/>
            <a:ext cx="5181600" cy="4399549"/>
          </a:xfrm>
          <a:prstGeom prst="rect">
            <a:avLst/>
          </a:prstGeom>
        </p:spPr>
        <p:txBody>
          <a:bodyPr/>
          <a:lstStyle>
            <a:lvl1pPr marL="0" indent="0">
              <a:lnSpc>
                <a:spcPct val="90000"/>
              </a:lnSpc>
              <a:spcBef>
                <a:spcPts val="0"/>
              </a:spcBef>
              <a:spcAft>
                <a:spcPts val="563"/>
              </a:spcAft>
              <a:buNone/>
              <a:defRPr sz="1875" b="0">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962918"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hasCustomPrompt="1"/>
          </p:nvPr>
        </p:nvSpPr>
        <p:spPr>
          <a:xfrm>
            <a:off x="6400800" y="1524000"/>
            <a:ext cx="5181600" cy="401051"/>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Sub-head</a:t>
            </a:r>
          </a:p>
        </p:txBody>
      </p:sp>
      <p:sp>
        <p:nvSpPr>
          <p:cNvPr id="16"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8"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27536620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06403"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406403"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9" name="Text Placeholder 5"/>
          <p:cNvSpPr>
            <a:spLocks noGrp="1"/>
          </p:cNvSpPr>
          <p:nvPr>
            <p:ph type="body" sz="quarter" idx="12" hasCustomPrompt="1"/>
          </p:nvPr>
        </p:nvSpPr>
        <p:spPr>
          <a:xfrm>
            <a:off x="8128000"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10" name="Text Placeholder 5"/>
          <p:cNvSpPr>
            <a:spLocks noGrp="1"/>
          </p:cNvSpPr>
          <p:nvPr>
            <p:ph type="body" sz="quarter" idx="13" hasCustomPrompt="1"/>
          </p:nvPr>
        </p:nvSpPr>
        <p:spPr>
          <a:xfrm>
            <a:off x="8128000"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8" name="Text Placeholder 5"/>
          <p:cNvSpPr>
            <a:spLocks noGrp="1"/>
          </p:cNvSpPr>
          <p:nvPr>
            <p:ph type="body" sz="quarter" idx="14" hasCustomPrompt="1"/>
          </p:nvPr>
        </p:nvSpPr>
        <p:spPr>
          <a:xfrm>
            <a:off x="4277897" y="2001251"/>
            <a:ext cx="3657600" cy="4399549"/>
          </a:xfrm>
          <a:prstGeom prst="rect">
            <a:avLst/>
          </a:prstGeom>
        </p:spPr>
        <p:txBody>
          <a:bodyPr/>
          <a:lstStyle>
            <a:lvl1pPr marL="0" indent="0">
              <a:lnSpc>
                <a:spcPct val="90000"/>
              </a:lnSpc>
              <a:spcBef>
                <a:spcPts val="0"/>
              </a:spcBef>
              <a:spcAft>
                <a:spcPts val="563"/>
              </a:spcAft>
              <a:buNone/>
              <a:defRPr sz="1875" b="1">
                <a:latin typeface="Century Gothic" panose="020B0502020202020204" pitchFamily="34" charset="0"/>
              </a:defRPr>
            </a:lvl1pPr>
            <a:lvl2pPr marL="322958" indent="-214313">
              <a:lnSpc>
                <a:spcPct val="90000"/>
              </a:lnSpc>
              <a:spcBef>
                <a:spcPts val="0"/>
              </a:spcBef>
              <a:spcAft>
                <a:spcPts val="563"/>
              </a:spcAft>
              <a:buClr>
                <a:srgbClr val="4F81BD"/>
              </a:buClr>
              <a:buFont typeface="Wingdings" panose="05000000000000000000" pitchFamily="2" charset="2"/>
              <a:buChar char="§"/>
              <a:defRPr sz="1875" b="0">
                <a:latin typeface="Century Gothic" panose="020B0502020202020204" pitchFamily="34" charset="0"/>
              </a:defRPr>
            </a:lvl2pPr>
            <a:lvl3pPr marL="534293" indent="-214313">
              <a:lnSpc>
                <a:spcPct val="90000"/>
              </a:lnSpc>
              <a:spcBef>
                <a:spcPts val="0"/>
              </a:spcBef>
              <a:spcAft>
                <a:spcPts val="563"/>
              </a:spcAft>
              <a:buClr>
                <a:srgbClr val="4F81BD"/>
              </a:buClr>
              <a:defRPr sz="1875" b="0">
                <a:latin typeface="Century Gothic" panose="020B0502020202020204" pitchFamily="34" charset="0"/>
              </a:defRPr>
            </a:lvl3pPr>
            <a:lvl4pPr marL="751583" indent="-214313">
              <a:lnSpc>
                <a:spcPct val="90000"/>
              </a:lnSpc>
              <a:spcBef>
                <a:spcPts val="0"/>
              </a:spcBef>
              <a:spcAft>
                <a:spcPts val="563"/>
              </a:spcAft>
              <a:buClr>
                <a:srgbClr val="4F81BD"/>
              </a:buClr>
              <a:buSzPct val="70000"/>
              <a:buFont typeface="Courier New" panose="02070309020205020404" pitchFamily="49" charset="0"/>
              <a:buChar char="o"/>
              <a:defRPr sz="1875" b="0">
                <a:latin typeface="Century Gothic" panose="020B0502020202020204" pitchFamily="34" charset="0"/>
              </a:defRPr>
            </a:lvl4pPr>
            <a:lvl5pPr marL="1928813" indent="-214313">
              <a:lnSpc>
                <a:spcPct val="90000"/>
              </a:lnSpc>
              <a:spcBef>
                <a:spcPts val="0"/>
              </a:spcBef>
              <a:spcAft>
                <a:spcPts val="563"/>
              </a:spcAft>
              <a:buClr>
                <a:srgbClr val="4F81BD"/>
              </a:buClr>
              <a:buFont typeface="Century Gothic" panose="020B0502020202020204" pitchFamily="34" charset="0"/>
              <a:buChar char="∙"/>
              <a:defRPr sz="1875"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11" name="Text Placeholder 5"/>
          <p:cNvSpPr>
            <a:spLocks noGrp="1"/>
          </p:cNvSpPr>
          <p:nvPr>
            <p:ph type="body" sz="quarter" idx="15" hasCustomPrompt="1"/>
          </p:nvPr>
        </p:nvSpPr>
        <p:spPr>
          <a:xfrm>
            <a:off x="4277897" y="1524000"/>
            <a:ext cx="3657600" cy="401052"/>
          </a:xfrm>
          <a:prstGeom prst="rect">
            <a:avLst/>
          </a:prstGeom>
        </p:spPr>
        <p:txBody>
          <a:bodyPr anchor="b"/>
          <a:lstStyle>
            <a:lvl1pPr marL="0" indent="0">
              <a:lnSpc>
                <a:spcPct val="90000"/>
              </a:lnSpc>
              <a:spcBef>
                <a:spcPts val="0"/>
              </a:spcBef>
              <a:buNone/>
              <a:defRPr sz="1875" b="1">
                <a:solidFill>
                  <a:srgbClr val="4F81BD"/>
                </a:solidFill>
                <a:latin typeface="Century Gothic" panose="020B0502020202020204" pitchFamily="34" charset="0"/>
              </a:defRPr>
            </a:lvl1pPr>
          </a:lstStyle>
          <a:p>
            <a:pPr lvl="0"/>
            <a:r>
              <a:rPr lang="en-US" dirty="0"/>
              <a:t>Header</a:t>
            </a:r>
          </a:p>
        </p:txBody>
      </p:sp>
      <p:sp>
        <p:nvSpPr>
          <p:cNvPr id="12" name="Text Placeholder 15"/>
          <p:cNvSpPr>
            <a:spLocks noGrp="1"/>
          </p:cNvSpPr>
          <p:nvPr>
            <p:ph type="body" sz="quarter" idx="16" hasCustomPrompt="1"/>
          </p:nvPr>
        </p:nvSpPr>
        <p:spPr>
          <a:xfrm>
            <a:off x="0" y="838200"/>
            <a:ext cx="12192000" cy="515938"/>
          </a:xfrm>
          <a:prstGeom prst="rect">
            <a:avLst/>
          </a:prstGeom>
        </p:spPr>
        <p:txBody>
          <a:bodyPr/>
          <a:lstStyle>
            <a:lvl1pPr marL="0" indent="0" algn="ctr">
              <a:buNone/>
              <a:defRPr sz="1688">
                <a:solidFill>
                  <a:srgbClr val="4F81BD"/>
                </a:solidFill>
                <a:latin typeface="Century Gothic" panose="020B0502020202020204" pitchFamily="34" charset="0"/>
              </a:defRPr>
            </a:lvl1pPr>
            <a:lvl2pPr marL="428625" indent="0" algn="ctr">
              <a:buNone/>
              <a:defRPr sz="1688">
                <a:solidFill>
                  <a:srgbClr val="4F81BD"/>
                </a:solidFill>
                <a:latin typeface="Century Gothic" panose="020B0502020202020204" pitchFamily="34" charset="0"/>
              </a:defRPr>
            </a:lvl2pPr>
            <a:lvl3pPr marL="857250" indent="0" algn="ctr">
              <a:buNone/>
              <a:defRPr sz="1688">
                <a:solidFill>
                  <a:srgbClr val="4F81BD"/>
                </a:solidFill>
                <a:latin typeface="Century Gothic" panose="020B0502020202020204" pitchFamily="34" charset="0"/>
              </a:defRPr>
            </a:lvl3pPr>
            <a:lvl4pPr marL="1285875" indent="0" algn="ctr">
              <a:buNone/>
              <a:defRPr sz="1688">
                <a:solidFill>
                  <a:srgbClr val="4F81BD"/>
                </a:solidFill>
                <a:latin typeface="Century Gothic" panose="020B0502020202020204" pitchFamily="34" charset="0"/>
              </a:defRPr>
            </a:lvl4pPr>
            <a:lvl5pPr marL="1714500" indent="0" algn="ctr">
              <a:buNone/>
              <a:defRPr sz="1688">
                <a:solidFill>
                  <a:srgbClr val="4F81BD"/>
                </a:solidFill>
                <a:latin typeface="Century Gothic" panose="020B0502020202020204" pitchFamily="34" charset="0"/>
              </a:defRPr>
            </a:lvl5pPr>
          </a:lstStyle>
          <a:p>
            <a:pPr lvl="0"/>
            <a:r>
              <a:rPr lang="en-US" dirty="0"/>
              <a:t>Click to edit header</a:t>
            </a:r>
          </a:p>
        </p:txBody>
      </p:sp>
      <p:sp>
        <p:nvSpPr>
          <p:cNvPr id="13"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12990355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2" name="Text Placeholder 5"/>
          <p:cNvSpPr>
            <a:spLocks noGrp="1"/>
          </p:cNvSpPr>
          <p:nvPr>
            <p:ph type="body" sz="quarter" idx="10" hasCustomPrompt="1"/>
          </p:nvPr>
        </p:nvSpPr>
        <p:spPr>
          <a:xfrm>
            <a:off x="406403" y="1523999"/>
            <a:ext cx="11379197" cy="4876800"/>
          </a:xfrm>
          <a:prstGeom prst="rect">
            <a:avLst/>
          </a:prstGeom>
        </p:spPr>
        <p:txBody>
          <a:bodyPr/>
          <a:lstStyle>
            <a:lvl1pPr marL="230188" indent="-230188" defTabSz="200025">
              <a:lnSpc>
                <a:spcPct val="90000"/>
              </a:lnSpc>
              <a:spcBef>
                <a:spcPts val="0"/>
              </a:spcBef>
              <a:spcAft>
                <a:spcPts val="600"/>
              </a:spcAft>
              <a:buClr>
                <a:srgbClr val="4F81BD"/>
              </a:buClr>
              <a:buSzPct val="80000"/>
              <a:buFont typeface="Century Gothic" panose="020B0502020202020204" pitchFamily="34" charset="0"/>
              <a:buChar char="▐"/>
              <a:defRPr sz="2000" b="1">
                <a:solidFill>
                  <a:schemeClr val="tx1">
                    <a:lumMod val="75000"/>
                    <a:lumOff val="25000"/>
                  </a:schemeClr>
                </a:solidFill>
                <a:latin typeface="Century Gothic" panose="020B0502020202020204" pitchFamily="34" charset="0"/>
              </a:defRPr>
            </a:lvl1pPr>
            <a:lvl2pPr marL="568325" indent="-227013" defTabSz="200025">
              <a:lnSpc>
                <a:spcPct val="90000"/>
              </a:lnSpc>
              <a:spcBef>
                <a:spcPts val="0"/>
              </a:spcBef>
              <a:spcAft>
                <a:spcPts val="600"/>
              </a:spcAft>
              <a:buClr>
                <a:srgbClr val="4F81BD"/>
              </a:buClr>
              <a:buFont typeface="Wingdings" panose="05000000000000000000" pitchFamily="2" charset="2"/>
              <a:buChar char="§"/>
              <a:defRPr sz="2000" b="0">
                <a:solidFill>
                  <a:schemeClr val="tx1">
                    <a:lumMod val="75000"/>
                    <a:lumOff val="25000"/>
                  </a:schemeClr>
                </a:solidFill>
                <a:latin typeface="Century Gothic" panose="020B0502020202020204" pitchFamily="34" charset="0"/>
              </a:defRPr>
            </a:lvl2pPr>
            <a:lvl3pPr marL="798513" indent="-228600" defTabSz="200025">
              <a:lnSpc>
                <a:spcPct val="90000"/>
              </a:lnSpc>
              <a:spcBef>
                <a:spcPts val="0"/>
              </a:spcBef>
              <a:spcAft>
                <a:spcPts val="600"/>
              </a:spcAft>
              <a:buClr>
                <a:srgbClr val="4F81BD"/>
              </a:buClr>
              <a:defRPr sz="2000" b="0">
                <a:solidFill>
                  <a:schemeClr val="tx1">
                    <a:lumMod val="75000"/>
                    <a:lumOff val="25000"/>
                  </a:schemeClr>
                </a:solidFill>
                <a:latin typeface="Century Gothic" panose="020B0502020202020204" pitchFamily="34" charset="0"/>
              </a:defRPr>
            </a:lvl3pPr>
            <a:lvl4pPr marL="1030288" indent="-228600" defTabSz="200025">
              <a:lnSpc>
                <a:spcPct val="90000"/>
              </a:lnSpc>
              <a:spcBef>
                <a:spcPts val="0"/>
              </a:spcBef>
              <a:spcAft>
                <a:spcPts val="600"/>
              </a:spcAft>
              <a:buClr>
                <a:srgbClr val="4F81BD"/>
              </a:buClr>
              <a:buSzPct val="70000"/>
              <a:buFont typeface="Courier New" panose="02070309020205020404" pitchFamily="49" charset="0"/>
              <a:buChar char="o"/>
              <a:defRPr sz="2000" b="0">
                <a:solidFill>
                  <a:schemeClr val="tx1">
                    <a:lumMod val="75000"/>
                    <a:lumOff val="25000"/>
                  </a:schemeClr>
                </a:solidFill>
                <a:latin typeface="Century Gothic" panose="020B0502020202020204" pitchFamily="34" charset="0"/>
              </a:defRPr>
            </a:lvl4pPr>
            <a:lvl5pPr marL="1260475" indent="-228600" defTabSz="200025">
              <a:lnSpc>
                <a:spcPct val="90000"/>
              </a:lnSpc>
              <a:spcBef>
                <a:spcPts val="0"/>
              </a:spcBef>
              <a:spcAft>
                <a:spcPts val="600"/>
              </a:spcAft>
              <a:buClr>
                <a:srgbClr val="4F81BD"/>
              </a:buClr>
              <a:buFont typeface="Century Gothic" panose="020B0502020202020204" pitchFamily="34" charset="0"/>
              <a:buChar char="∙"/>
              <a:defRPr sz="2000" b="0">
                <a:solidFill>
                  <a:schemeClr val="tx1">
                    <a:lumMod val="75000"/>
                    <a:lumOff val="25000"/>
                  </a:schemeClr>
                </a:solidFill>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
        <p:nvSpPr>
          <p:cNvPr id="4" name="Title 1"/>
          <p:cNvSpPr>
            <a:spLocks noGrp="1"/>
          </p:cNvSpPr>
          <p:nvPr>
            <p:ph type="title"/>
          </p:nvPr>
        </p:nvSpPr>
        <p:spPr>
          <a:xfrm>
            <a:off x="3962400" y="125606"/>
            <a:ext cx="8128000" cy="430886"/>
          </a:xfrm>
          <a:prstGeom prst="rect">
            <a:avLst/>
          </a:prstGeom>
        </p:spPr>
        <p:txBody>
          <a:bodyPr anchor="ctr"/>
          <a:lstStyle>
            <a:lvl1pPr algn="r" rtl="0" eaLnBrk="1" fontAlgn="base" hangingPunct="1">
              <a:spcBef>
                <a:spcPct val="0"/>
              </a:spcBef>
              <a:spcAft>
                <a:spcPct val="0"/>
              </a:spcAft>
              <a:defRPr lang="en-US" sz="2200" b="1" kern="1200" dirty="0">
                <a:solidFill>
                  <a:srgbClr val="FFFFFF"/>
                </a:solidFill>
                <a:latin typeface="Century Gothic" panose="020B0502020202020204" pitchFamily="34" charset="0"/>
                <a:ea typeface="+mn-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79441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5"/>
          <p:cNvSpPr>
            <a:spLocks noGrp="1"/>
          </p:cNvSpPr>
          <p:nvPr>
            <p:ph type="body" sz="quarter" idx="10" hasCustomPrompt="1"/>
          </p:nvPr>
        </p:nvSpPr>
        <p:spPr>
          <a:xfrm>
            <a:off x="406403" y="1523999"/>
            <a:ext cx="11379197" cy="4876800"/>
          </a:xfrm>
          <a:prstGeom prst="rect">
            <a:avLst/>
          </a:prstGeom>
        </p:spPr>
        <p:txBody>
          <a:bodyPr/>
          <a:lstStyle>
            <a:lvl1pPr marL="0" indent="0">
              <a:lnSpc>
                <a:spcPct val="90000"/>
              </a:lnSpc>
              <a:spcBef>
                <a:spcPts val="0"/>
              </a:spcBef>
              <a:spcAft>
                <a:spcPts val="600"/>
              </a:spcAft>
              <a:buNone/>
              <a:defRPr sz="2400" b="0">
                <a:latin typeface="Century Gothic" panose="020B0502020202020204" pitchFamily="34" charset="0"/>
              </a:defRPr>
            </a:lvl1pPr>
            <a:lvl2pPr marL="344488" indent="-228600">
              <a:lnSpc>
                <a:spcPct val="90000"/>
              </a:lnSpc>
              <a:spcBef>
                <a:spcPts val="0"/>
              </a:spcBef>
              <a:spcAft>
                <a:spcPts val="600"/>
              </a:spcAft>
              <a:buClr>
                <a:srgbClr val="4F81BD"/>
              </a:buClr>
              <a:buFont typeface="Wingdings" panose="05000000000000000000" pitchFamily="2" charset="2"/>
              <a:buChar char="§"/>
              <a:defRPr sz="2000" b="0">
                <a:latin typeface="Century Gothic" panose="020B0502020202020204" pitchFamily="34" charset="0"/>
              </a:defRPr>
            </a:lvl2pPr>
            <a:lvl3pPr marL="569913" indent="-228600">
              <a:lnSpc>
                <a:spcPct val="90000"/>
              </a:lnSpc>
              <a:spcBef>
                <a:spcPts val="0"/>
              </a:spcBef>
              <a:spcAft>
                <a:spcPts val="600"/>
              </a:spcAft>
              <a:buClr>
                <a:srgbClr val="4F81BD"/>
              </a:buClr>
              <a:defRPr sz="2000" b="0">
                <a:latin typeface="Century Gothic" panose="020B0502020202020204" pitchFamily="34" charset="0"/>
              </a:defRPr>
            </a:lvl3pPr>
            <a:lvl4pPr marL="801688" indent="-228600">
              <a:lnSpc>
                <a:spcPct val="90000"/>
              </a:lnSpc>
              <a:spcBef>
                <a:spcPts val="0"/>
              </a:spcBef>
              <a:spcAft>
                <a:spcPts val="600"/>
              </a:spcAft>
              <a:buClr>
                <a:srgbClr val="4F81BD"/>
              </a:buClr>
              <a:buSzPct val="70000"/>
              <a:buFont typeface="Courier New" panose="02070309020205020404" pitchFamily="49" charset="0"/>
              <a:buChar char="o"/>
              <a:defRPr sz="2000" b="0">
                <a:latin typeface="Century Gothic" panose="020B0502020202020204" pitchFamily="34" charset="0"/>
              </a:defRPr>
            </a:lvl4pPr>
            <a:lvl5pPr marL="1027113" indent="-228600">
              <a:lnSpc>
                <a:spcPct val="90000"/>
              </a:lnSpc>
              <a:spcBef>
                <a:spcPts val="0"/>
              </a:spcBef>
              <a:spcAft>
                <a:spcPts val="600"/>
              </a:spcAft>
              <a:buClr>
                <a:srgbClr val="4F81BD"/>
              </a:buClr>
              <a:buFont typeface="Century Gothic" panose="020B0502020202020204" pitchFamily="34" charset="0"/>
              <a:buChar char="∙"/>
              <a:defRPr sz="2000"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hasCustomPrompt="1"/>
          </p:nvPr>
        </p:nvSpPr>
        <p:spPr>
          <a:xfrm>
            <a:off x="3759200"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Tree>
    <p:extLst>
      <p:ext uri="{BB962C8B-B14F-4D97-AF65-F5344CB8AC3E}">
        <p14:creationId xmlns:p14="http://schemas.microsoft.com/office/powerpoint/2010/main" val="3705759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94A27F3F-F058-419B-903B-CEE500334256}" type="datetime1">
              <a:rPr lang="en-US" smtClean="0"/>
              <a:t>12/12/2023</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707304A-433C-4B5B-A507-AD407BE4ED27}" type="slidenum">
              <a:rPr lang="en-US" smtClean="0"/>
              <a:pPr/>
              <a:t>‹#›</a:t>
            </a:fld>
            <a:endParaRPr lang="en-US"/>
          </a:p>
        </p:txBody>
      </p:sp>
    </p:spTree>
    <p:extLst>
      <p:ext uri="{BB962C8B-B14F-4D97-AF65-F5344CB8AC3E}">
        <p14:creationId xmlns:p14="http://schemas.microsoft.com/office/powerpoint/2010/main" val="24637308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Text Placeholder 5"/>
          <p:cNvSpPr>
            <a:spLocks noGrp="1"/>
          </p:cNvSpPr>
          <p:nvPr>
            <p:ph type="body" sz="quarter" idx="10" hasCustomPrompt="1"/>
          </p:nvPr>
        </p:nvSpPr>
        <p:spPr>
          <a:xfrm>
            <a:off x="406403" y="1523999"/>
            <a:ext cx="11379197" cy="4876800"/>
          </a:xfrm>
          <a:prstGeom prst="rect">
            <a:avLst/>
          </a:prstGeom>
        </p:spPr>
        <p:txBody>
          <a:bodyPr/>
          <a:lstStyle>
            <a:lvl1pPr marL="0" indent="0">
              <a:lnSpc>
                <a:spcPct val="90000"/>
              </a:lnSpc>
              <a:spcBef>
                <a:spcPts val="0"/>
              </a:spcBef>
              <a:spcAft>
                <a:spcPts val="600"/>
              </a:spcAft>
              <a:buNone/>
              <a:defRPr sz="2400" b="0">
                <a:latin typeface="Century Gothic" panose="020B0502020202020204" pitchFamily="34" charset="0"/>
              </a:defRPr>
            </a:lvl1pPr>
            <a:lvl2pPr marL="344488" indent="-228600">
              <a:lnSpc>
                <a:spcPct val="90000"/>
              </a:lnSpc>
              <a:spcBef>
                <a:spcPts val="0"/>
              </a:spcBef>
              <a:spcAft>
                <a:spcPts val="600"/>
              </a:spcAft>
              <a:buClr>
                <a:srgbClr val="4F81BD"/>
              </a:buClr>
              <a:buFont typeface="Wingdings" panose="05000000000000000000" pitchFamily="2" charset="2"/>
              <a:buChar char="§"/>
              <a:defRPr sz="2000" b="0">
                <a:latin typeface="Century Gothic" panose="020B0502020202020204" pitchFamily="34" charset="0"/>
              </a:defRPr>
            </a:lvl2pPr>
            <a:lvl3pPr marL="569913" indent="-228600">
              <a:lnSpc>
                <a:spcPct val="90000"/>
              </a:lnSpc>
              <a:spcBef>
                <a:spcPts val="0"/>
              </a:spcBef>
              <a:spcAft>
                <a:spcPts val="600"/>
              </a:spcAft>
              <a:buClr>
                <a:srgbClr val="4F81BD"/>
              </a:buClr>
              <a:defRPr sz="2000" b="0">
                <a:latin typeface="Century Gothic" panose="020B0502020202020204" pitchFamily="34" charset="0"/>
              </a:defRPr>
            </a:lvl3pPr>
            <a:lvl4pPr marL="801688" indent="-228600">
              <a:lnSpc>
                <a:spcPct val="90000"/>
              </a:lnSpc>
              <a:spcBef>
                <a:spcPts val="0"/>
              </a:spcBef>
              <a:spcAft>
                <a:spcPts val="600"/>
              </a:spcAft>
              <a:buClr>
                <a:srgbClr val="4F81BD"/>
              </a:buClr>
              <a:buSzPct val="70000"/>
              <a:buFont typeface="Courier New" panose="02070309020205020404" pitchFamily="49" charset="0"/>
              <a:buChar char="o"/>
              <a:defRPr sz="2000" b="0">
                <a:latin typeface="Century Gothic" panose="020B0502020202020204" pitchFamily="34" charset="0"/>
              </a:defRPr>
            </a:lvl4pPr>
            <a:lvl5pPr marL="1027113" indent="-228600">
              <a:lnSpc>
                <a:spcPct val="90000"/>
              </a:lnSpc>
              <a:spcBef>
                <a:spcPts val="0"/>
              </a:spcBef>
              <a:spcAft>
                <a:spcPts val="600"/>
              </a:spcAft>
              <a:buClr>
                <a:srgbClr val="4F81BD"/>
              </a:buClr>
              <a:buFont typeface="Century Gothic" panose="020B0502020202020204" pitchFamily="34" charset="0"/>
              <a:buChar char="∙"/>
              <a:defRPr sz="2000" b="0">
                <a:latin typeface="Century Gothic" panose="020B0502020202020204" pitchFamily="34" charset="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hasCustomPrompt="1"/>
          </p:nvPr>
        </p:nvSpPr>
        <p:spPr>
          <a:xfrm>
            <a:off x="3759200"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
        <p:nvSpPr>
          <p:cNvPr id="7" name="Text Placeholder 15"/>
          <p:cNvSpPr>
            <a:spLocks noGrp="1"/>
          </p:cNvSpPr>
          <p:nvPr>
            <p:ph type="body" sz="quarter" idx="14" hasCustomPrompt="1"/>
          </p:nvPr>
        </p:nvSpPr>
        <p:spPr>
          <a:xfrm>
            <a:off x="0" y="838200"/>
            <a:ext cx="12192000" cy="515938"/>
          </a:xfrm>
          <a:prstGeom prst="rect">
            <a:avLst/>
          </a:prstGeom>
        </p:spPr>
        <p:txBody>
          <a:bodyPr/>
          <a:lstStyle>
            <a:lvl1pPr marL="0" indent="0" algn="ctr">
              <a:buNone/>
              <a:defRPr sz="1800">
                <a:solidFill>
                  <a:srgbClr val="4F81BD"/>
                </a:solidFill>
                <a:latin typeface="Century Gothic" panose="020B0502020202020204" pitchFamily="34" charset="0"/>
              </a:defRPr>
            </a:lvl1pPr>
            <a:lvl2pPr marL="457200" indent="0" algn="ctr">
              <a:buNone/>
              <a:defRPr sz="1800">
                <a:solidFill>
                  <a:srgbClr val="4F81BD"/>
                </a:solidFill>
                <a:latin typeface="Century Gothic" panose="020B0502020202020204" pitchFamily="34" charset="0"/>
              </a:defRPr>
            </a:lvl2pPr>
            <a:lvl3pPr marL="914400" indent="0" algn="ctr">
              <a:buNone/>
              <a:defRPr sz="1800">
                <a:solidFill>
                  <a:srgbClr val="4F81BD"/>
                </a:solidFill>
                <a:latin typeface="Century Gothic" panose="020B0502020202020204" pitchFamily="34" charset="0"/>
              </a:defRPr>
            </a:lvl3pPr>
            <a:lvl4pPr marL="1371600" indent="0" algn="ctr">
              <a:buNone/>
              <a:defRPr sz="1800">
                <a:solidFill>
                  <a:srgbClr val="4F81BD"/>
                </a:solidFill>
                <a:latin typeface="Century Gothic" panose="020B0502020202020204" pitchFamily="34" charset="0"/>
              </a:defRPr>
            </a:lvl4pPr>
            <a:lvl5pPr marL="1828800" indent="0" algn="ctr">
              <a:buNone/>
              <a:defRPr sz="1800">
                <a:solidFill>
                  <a:srgbClr val="4F81BD"/>
                </a:solidFill>
                <a:latin typeface="Century Gothic" panose="020B0502020202020204" pitchFamily="34" charset="0"/>
              </a:defRPr>
            </a:lvl5pPr>
          </a:lstStyle>
          <a:p>
            <a:pPr lvl="0"/>
            <a:r>
              <a:rPr lang="en-US" dirty="0"/>
              <a:t>Click to edit header</a:t>
            </a:r>
          </a:p>
        </p:txBody>
      </p:sp>
    </p:spTree>
    <p:extLst>
      <p:ext uri="{BB962C8B-B14F-4D97-AF65-F5344CB8AC3E}">
        <p14:creationId xmlns:p14="http://schemas.microsoft.com/office/powerpoint/2010/main" val="21983004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ext Placeholder 2"/>
          <p:cNvSpPr>
            <a:spLocks noGrp="1"/>
          </p:cNvSpPr>
          <p:nvPr>
            <p:ph idx="13"/>
          </p:nvPr>
        </p:nvSpPr>
        <p:spPr>
          <a:xfrm>
            <a:off x="203200" y="914401"/>
            <a:ext cx="11785600" cy="5791200"/>
          </a:xfrm>
          <a:prstGeom prst="rect">
            <a:avLst/>
          </a:prstGeom>
        </p:spPr>
        <p:txBody>
          <a:bodyPr vert="horz" lIns="91440" tIns="45720" rIns="91440" bIns="45720" rtlCol="0">
            <a:normAutofit/>
          </a:bodyPr>
          <a:lstStyle>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3187219" y="76201"/>
            <a:ext cx="8971148" cy="587679"/>
          </a:xfrm>
          <a:prstGeom prst="rect">
            <a:avLst/>
          </a:prstGeom>
        </p:spPr>
        <p:txBody>
          <a:bodyPr vert="horz" lIns="91440" tIns="45720" rIns="91440" bIns="45720" rtlCol="0" anchor="ctr">
            <a:normAutofit/>
          </a:bodyPr>
          <a:lstStyle/>
          <a:p>
            <a:r>
              <a:rPr lang="en-US" dirty="0"/>
              <a:t>Click to edit Master title style</a:t>
            </a:r>
          </a:p>
        </p:txBody>
      </p:sp>
      <p:sp>
        <p:nvSpPr>
          <p:cNvPr id="4" name="Slide Number Placeholder 3"/>
          <p:cNvSpPr>
            <a:spLocks noGrp="1"/>
          </p:cNvSpPr>
          <p:nvPr>
            <p:ph type="sldNum" sz="quarter" idx="4"/>
          </p:nvPr>
        </p:nvSpPr>
        <p:spPr>
          <a:xfrm>
            <a:off x="11379200" y="6477001"/>
            <a:ext cx="740088" cy="304799"/>
          </a:xfrm>
          <a:prstGeom prst="rect">
            <a:avLst/>
          </a:prstGeom>
        </p:spPr>
        <p:txBody>
          <a:bodyPr vert="horz" lIns="91440" tIns="45720" rIns="91440" bIns="45720" rtlCol="0" anchor="ctr"/>
          <a:lstStyle>
            <a:lvl1pPr algn="r">
              <a:defRPr sz="1200">
                <a:solidFill>
                  <a:schemeClr val="tx1">
                    <a:tint val="75000"/>
                  </a:schemeClr>
                </a:solidFill>
              </a:defRPr>
            </a:lvl1pPr>
          </a:lstStyle>
          <a:p>
            <a:fld id="{33F055EF-A42B-4115-858C-F64705F682D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45187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Text Placeholder 2"/>
          <p:cNvSpPr>
            <a:spLocks noGrp="1"/>
          </p:cNvSpPr>
          <p:nvPr>
            <p:ph idx="13"/>
          </p:nvPr>
        </p:nvSpPr>
        <p:spPr>
          <a:xfrm>
            <a:off x="203200" y="914401"/>
            <a:ext cx="11785600" cy="5791200"/>
          </a:xfrm>
          <a:prstGeom prst="rect">
            <a:avLst/>
          </a:prstGeom>
        </p:spPr>
        <p:txBody>
          <a:bodyPr vert="horz" lIns="91440" tIns="45720" rIns="91440" bIns="45720" rtlCol="0">
            <a:normAutofit/>
          </a:bodyPr>
          <a:lstStyle>
            <a:lvl2pPr>
              <a:defRPr sz="24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3187219" y="76201"/>
            <a:ext cx="8971148" cy="587679"/>
          </a:xfrm>
          <a:prstGeom prst="rect">
            <a:avLst/>
          </a:prstGeom>
        </p:spPr>
        <p:txBody>
          <a:bodyPr vert="horz" lIns="91440" tIns="45720" rIns="91440" bIns="45720" rtlCol="0" anchor="ctr">
            <a:normAutofit/>
          </a:bodyPr>
          <a:lstStyle/>
          <a:p>
            <a:r>
              <a:rPr lang="en-US" dirty="0"/>
              <a:t>Click to edit Master title style</a:t>
            </a:r>
          </a:p>
        </p:txBody>
      </p:sp>
      <p:sp>
        <p:nvSpPr>
          <p:cNvPr id="4" name="Slide Number Placeholder 3"/>
          <p:cNvSpPr>
            <a:spLocks noGrp="1"/>
          </p:cNvSpPr>
          <p:nvPr>
            <p:ph type="sldNum" sz="quarter" idx="4"/>
          </p:nvPr>
        </p:nvSpPr>
        <p:spPr>
          <a:xfrm>
            <a:off x="11379200" y="6477001"/>
            <a:ext cx="740088" cy="304799"/>
          </a:xfrm>
          <a:prstGeom prst="rect">
            <a:avLst/>
          </a:prstGeom>
        </p:spPr>
        <p:txBody>
          <a:bodyPr vert="horz" lIns="91440" tIns="45720" rIns="91440" bIns="45720" rtlCol="0" anchor="ctr"/>
          <a:lstStyle>
            <a:lvl1pPr algn="r">
              <a:defRPr sz="1200">
                <a:solidFill>
                  <a:schemeClr val="tx1">
                    <a:tint val="75000"/>
                  </a:schemeClr>
                </a:solidFill>
              </a:defRPr>
            </a:lvl1pPr>
          </a:lstStyle>
          <a:p>
            <a:fld id="{33F055EF-A42B-4115-858C-F64705F682D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1963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2/12/2023</a:t>
            </a:fld>
            <a:endParaRPr lang="en-US" dirty="0">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ts val="1240"/>
              </a:lnSpc>
            </a:pPr>
            <a:fld id="{81D60167-4931-47E6-BA6A-407CBD079E47}" type="slidenum">
              <a:rPr dirty="0"/>
              <a:pPr marL="25400">
                <a:lnSpc>
                  <a:spcPts val="1240"/>
                </a:lnSpc>
              </a:pPr>
              <a:t>‹#›</a:t>
            </a:fld>
            <a:endParaRPr dirty="0"/>
          </a:p>
        </p:txBody>
      </p:sp>
    </p:spTree>
    <p:extLst>
      <p:ext uri="{BB962C8B-B14F-4D97-AF65-F5344CB8AC3E}">
        <p14:creationId xmlns:p14="http://schemas.microsoft.com/office/powerpoint/2010/main" val="4167449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330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
        <p:nvSpPr>
          <p:cNvPr id="2" name="Date Placeholder 1">
            <a:extLst>
              <a:ext uri="{FF2B5EF4-FFF2-40B4-BE49-F238E27FC236}">
                <a16:creationId xmlns:a16="http://schemas.microsoft.com/office/drawing/2014/main" id="{C801E0B5-C8A4-44B3-BE7D-39D879C2D903}"/>
              </a:ext>
            </a:extLst>
          </p:cNvPr>
          <p:cNvSpPr>
            <a:spLocks noGrp="1"/>
          </p:cNvSpPr>
          <p:nvPr>
            <p:ph type="dt" sz="half" idx="13"/>
          </p:nvPr>
        </p:nvSpPr>
        <p:spPr/>
        <p:txBody>
          <a:bodyPr/>
          <a:lstStyle/>
          <a:p>
            <a:fld id="{C434E0B8-6E94-4173-AE39-491293B068AB}" type="datetime1">
              <a:rPr lang="en-US" smtClean="0"/>
              <a:t>12/12/2023</a:t>
            </a:fld>
            <a:endParaRPr lang="en-US"/>
          </a:p>
        </p:txBody>
      </p:sp>
      <p:sp>
        <p:nvSpPr>
          <p:cNvPr id="3" name="Slide Number Placeholder 2">
            <a:extLst>
              <a:ext uri="{FF2B5EF4-FFF2-40B4-BE49-F238E27FC236}">
                <a16:creationId xmlns:a16="http://schemas.microsoft.com/office/drawing/2014/main" id="{09F82F89-D8BA-4F18-B63A-636AC7584A63}"/>
              </a:ext>
            </a:extLst>
          </p:cNvPr>
          <p:cNvSpPr>
            <a:spLocks noGrp="1"/>
          </p:cNvSpPr>
          <p:nvPr>
            <p:ph type="sldNum" sz="quarter" idx="14"/>
          </p:nvPr>
        </p:nvSpPr>
        <p:spPr/>
        <p:txBody>
          <a:bodyPr/>
          <a:lstStyle/>
          <a:p>
            <a:fld id="{6B9B51B2-C089-4380-83DE-D03151AC93AB}" type="slidenum">
              <a:rPr lang="en-US" smtClean="0"/>
              <a:t>‹#›</a:t>
            </a:fld>
            <a:endParaRPr lang="en-US"/>
          </a:p>
        </p:txBody>
      </p:sp>
    </p:spTree>
    <p:extLst>
      <p:ext uri="{BB962C8B-B14F-4D97-AF65-F5344CB8AC3E}">
        <p14:creationId xmlns:p14="http://schemas.microsoft.com/office/powerpoint/2010/main" val="1176249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bg1"/>
                </a:solidFill>
                <a:latin typeface="Calibri Light"/>
                <a:cs typeface="Calibr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2023</a:t>
            </a:fld>
            <a:endParaRPr lang="en-US"/>
          </a:p>
        </p:txBody>
      </p:sp>
      <p:sp>
        <p:nvSpPr>
          <p:cNvPr id="7" name="Holder 7"/>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ts val="1240"/>
              </a:lnSpc>
            </a:pPr>
            <a:fld id="{81D60167-4931-47E6-BA6A-407CBD079E47}" type="slidenum">
              <a:rPr dirty="0"/>
              <a:t>‹#›</a:t>
            </a:fld>
            <a:endParaRPr dirty="0"/>
          </a:p>
        </p:txBody>
      </p:sp>
    </p:spTree>
    <p:extLst>
      <p:ext uri="{BB962C8B-B14F-4D97-AF65-F5344CB8AC3E}">
        <p14:creationId xmlns:p14="http://schemas.microsoft.com/office/powerpoint/2010/main" val="802863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7" y="2233"/>
            <a:ext cx="12190476" cy="6857143"/>
          </a:xfrm>
          <a:prstGeom prst="rect">
            <a:avLst/>
          </a:prstGeom>
          <a:noFill/>
          <a:ln>
            <a:noFill/>
          </a:ln>
        </p:spPr>
      </p:pic>
      <p:sp>
        <p:nvSpPr>
          <p:cNvPr id="11" name="Text Placeholder 10"/>
          <p:cNvSpPr>
            <a:spLocks noGrp="1"/>
          </p:cNvSpPr>
          <p:nvPr>
            <p:ph type="body" sz="quarter" idx="10" hasCustomPrompt="1"/>
          </p:nvPr>
        </p:nvSpPr>
        <p:spPr>
          <a:xfrm>
            <a:off x="406400" y="5429250"/>
            <a:ext cx="3759200" cy="483370"/>
          </a:xfrm>
          <a:prstGeom prst="rect">
            <a:avLst/>
          </a:prstGeom>
        </p:spPr>
        <p:txBody>
          <a:bodyPr bIns="0" anchor="b"/>
          <a:lstStyle>
            <a:lvl1pPr marL="0" indent="0">
              <a:lnSpc>
                <a:spcPct val="80000"/>
              </a:lnSpc>
              <a:buNone/>
              <a:defRPr>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Presenter</a:t>
            </a:r>
          </a:p>
        </p:txBody>
      </p:sp>
      <p:sp>
        <p:nvSpPr>
          <p:cNvPr id="2" name="Title 1"/>
          <p:cNvSpPr>
            <a:spLocks noGrp="1"/>
          </p:cNvSpPr>
          <p:nvPr>
            <p:ph type="ctrTitle" hasCustomPrompt="1"/>
          </p:nvPr>
        </p:nvSpPr>
        <p:spPr>
          <a:xfrm>
            <a:off x="406400" y="3523262"/>
            <a:ext cx="8737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0" numCol="1" anchor="b" anchorCtr="0" compatLnSpc="1">
            <a:prstTxWarp prst="textNoShape">
              <a:avLst/>
            </a:prstTxWarp>
          </a:bodyPr>
          <a:lstStyle>
            <a:lvl1pPr marL="0" marR="0" indent="0" algn="l" defTabSz="857250" rtl="0" eaLnBrk="1" fontAlgn="auto" latinLnBrk="0" hangingPunct="1">
              <a:lnSpc>
                <a:spcPct val="100000"/>
              </a:lnSpc>
              <a:spcBef>
                <a:spcPts val="0"/>
              </a:spcBef>
              <a:spcAft>
                <a:spcPts val="0"/>
              </a:spcAft>
              <a:buClrTx/>
              <a:buSzTx/>
              <a:buFontTx/>
              <a:buNone/>
              <a:tabLst/>
              <a:defRPr lang="en-US" sz="3375" b="0" cap="all">
                <a:solidFill>
                  <a:schemeClr val="bg1"/>
                </a:solidFill>
                <a:latin typeface="Century Gothic" panose="020B0502020202020204" pitchFamily="34" charset="0"/>
              </a:defRPr>
            </a:lvl1pPr>
          </a:lstStyle>
          <a:p>
            <a:pPr marL="0" marR="0" lvl="0" indent="0" algn="l" defTabSz="857250" rtl="0" eaLnBrk="1" fontAlgn="auto" latinLnBrk="0" hangingPunct="1">
              <a:lnSpc>
                <a:spcPct val="100000"/>
              </a:lnSpc>
              <a:spcBef>
                <a:spcPts val="0"/>
              </a:spcBef>
              <a:spcAft>
                <a:spcPts val="0"/>
              </a:spcAft>
              <a:buClrTx/>
              <a:buSzTx/>
              <a:buFontTx/>
              <a:buNone/>
              <a:tabLst/>
              <a:defRPr/>
            </a:pPr>
            <a:r>
              <a:rPr lang="en-US" dirty="0"/>
              <a:t>title</a:t>
            </a:r>
          </a:p>
        </p:txBody>
      </p:sp>
      <p:sp>
        <p:nvSpPr>
          <p:cNvPr id="12" name="Text Placeholder 10"/>
          <p:cNvSpPr>
            <a:spLocks noGrp="1"/>
          </p:cNvSpPr>
          <p:nvPr>
            <p:ph type="body" sz="quarter" idx="11" hasCustomPrompt="1"/>
          </p:nvPr>
        </p:nvSpPr>
        <p:spPr>
          <a:xfrm>
            <a:off x="406400" y="6226176"/>
            <a:ext cx="3759200" cy="397043"/>
          </a:xfrm>
          <a:prstGeom prst="rect">
            <a:avLst/>
          </a:prstGeom>
        </p:spPr>
        <p:txBody>
          <a:bodyPr anchor="b"/>
          <a:lstStyle>
            <a:lvl1pPr marL="0" indent="0">
              <a:lnSpc>
                <a:spcPct val="80000"/>
              </a:lnSpc>
              <a:buNone/>
              <a:defRPr sz="1688">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Month 00, 20XX</a:t>
            </a:r>
          </a:p>
        </p:txBody>
      </p:sp>
      <p:sp>
        <p:nvSpPr>
          <p:cNvPr id="5" name="Text Placeholder 4"/>
          <p:cNvSpPr>
            <a:spLocks noGrp="1"/>
          </p:cNvSpPr>
          <p:nvPr>
            <p:ph type="body" sz="quarter" idx="12" hasCustomPrompt="1"/>
          </p:nvPr>
        </p:nvSpPr>
        <p:spPr>
          <a:xfrm>
            <a:off x="406400" y="4085237"/>
            <a:ext cx="6299200" cy="939105"/>
          </a:xfrm>
          <a:prstGeom prst="rect">
            <a:avLst/>
          </a:prstGeom>
        </p:spPr>
        <p:txBody>
          <a:bodyPr/>
          <a:lstStyle>
            <a:lvl1pPr marL="0" indent="0">
              <a:lnSpc>
                <a:spcPct val="80000"/>
              </a:lnSpc>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1pPr>
            <a:lvl2pPr marL="428625"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2pPr>
            <a:lvl3pPr marL="857250"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3pPr>
            <a:lvl4pPr marL="1285875" indent="0">
              <a:buNone/>
              <a:defRPr kumimoji="0" lang="en-US" sz="2625" b="0" i="0" u="none" strike="noStrike" kern="0" cap="none" spc="0" normalizeH="0" baseline="0" dirty="0" smtClean="0">
                <a:ln>
                  <a:noFill/>
                </a:ln>
                <a:solidFill>
                  <a:prstClr val="white"/>
                </a:solidFill>
                <a:effectLst/>
                <a:uLnTx/>
                <a:uFillTx/>
                <a:latin typeface="Century Gothic" panose="020B0502020202020204" pitchFamily="34" charset="0"/>
                <a:ea typeface="+mn-ea"/>
                <a:cs typeface="+mj-cs"/>
              </a:defRPr>
            </a:lvl4pPr>
            <a:lvl5pPr marL="1714500" indent="0">
              <a:buNone/>
              <a:defRPr kumimoji="0" lang="en-US" sz="2625" b="0" i="0" u="none" strike="noStrike" kern="0" cap="none" spc="0" normalizeH="0" baseline="0" dirty="0">
                <a:ln>
                  <a:noFill/>
                </a:ln>
                <a:solidFill>
                  <a:prstClr val="white"/>
                </a:solidFill>
                <a:effectLst/>
                <a:uLnTx/>
                <a:uFillTx/>
                <a:latin typeface="Century Gothic" panose="020B0502020202020204" pitchFamily="34" charset="0"/>
                <a:ea typeface="+mn-ea"/>
                <a:cs typeface="+mj-cs"/>
              </a:defRPr>
            </a:lvl5pPr>
          </a:lstStyle>
          <a:p>
            <a:pPr lvl="0"/>
            <a:r>
              <a:rPr lang="en-US" dirty="0"/>
              <a:t>Subtitle</a:t>
            </a:r>
          </a:p>
        </p:txBody>
      </p:sp>
      <p:sp>
        <p:nvSpPr>
          <p:cNvPr id="9" name="Text Placeholder 10"/>
          <p:cNvSpPr>
            <a:spLocks noGrp="1"/>
          </p:cNvSpPr>
          <p:nvPr>
            <p:ph type="body" sz="quarter" idx="13" hasCustomPrompt="1"/>
          </p:nvPr>
        </p:nvSpPr>
        <p:spPr>
          <a:xfrm>
            <a:off x="406400" y="5890986"/>
            <a:ext cx="3759200" cy="395515"/>
          </a:xfrm>
          <a:prstGeom prst="rect">
            <a:avLst/>
          </a:prstGeom>
        </p:spPr>
        <p:txBody>
          <a:bodyPr anchor="t"/>
          <a:lstStyle>
            <a:lvl1pPr marL="0" indent="0">
              <a:lnSpc>
                <a:spcPct val="80000"/>
              </a:lnSpc>
              <a:buNone/>
              <a:defRPr>
                <a:solidFill>
                  <a:schemeClr val="bg1">
                    <a:lumMod val="7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Title</a:t>
            </a:r>
          </a:p>
        </p:txBody>
      </p:sp>
    </p:spTree>
    <p:extLst>
      <p:ext uri="{BB962C8B-B14F-4D97-AF65-F5344CB8AC3E}">
        <p14:creationId xmlns:p14="http://schemas.microsoft.com/office/powerpoint/2010/main" val="516219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4" name="Rounded Rectangle 12"/>
          <p:cNvSpPr>
            <a:spLocks noChangeArrowheads="1"/>
          </p:cNvSpPr>
          <p:nvPr userDrawn="1"/>
        </p:nvSpPr>
        <p:spPr bwMode="auto">
          <a:xfrm>
            <a:off x="0" y="655076"/>
            <a:ext cx="12192000" cy="6202931"/>
          </a:xfrm>
          <a:prstGeom prst="rect">
            <a:avLst/>
          </a:prstGeom>
          <a:solidFill>
            <a:srgbClr val="5193C6"/>
          </a:solidFill>
          <a:ln>
            <a:noFill/>
          </a:ln>
        </p:spPr>
        <p:txBody>
          <a:bodyPr anchor="ctr"/>
          <a:lstStyle/>
          <a:p>
            <a:pPr eaLnBrk="0" fontAlgn="base" hangingPunct="0">
              <a:spcBef>
                <a:spcPct val="0"/>
              </a:spcBef>
              <a:spcAft>
                <a:spcPct val="0"/>
              </a:spcAft>
            </a:pPr>
            <a:endParaRPr lang="en-US" sz="2250" b="1" cap="all" dirty="0">
              <a:solidFill>
                <a:srgbClr val="FFC000"/>
              </a:solidFill>
              <a:latin typeface="Century Gothic" panose="020B0502020202020204" pitchFamily="34" charset="0"/>
              <a:cs typeface="Arial"/>
            </a:endParaRPr>
          </a:p>
        </p:txBody>
      </p:sp>
      <p:sp>
        <p:nvSpPr>
          <p:cNvPr id="13" name="Text Placeholder 11"/>
          <p:cNvSpPr>
            <a:spLocks noGrp="1"/>
          </p:cNvSpPr>
          <p:nvPr>
            <p:ph type="body" sz="quarter" idx="11" hasCustomPrompt="1"/>
          </p:nvPr>
        </p:nvSpPr>
        <p:spPr>
          <a:xfrm>
            <a:off x="0" y="2944356"/>
            <a:ext cx="12192000" cy="685800"/>
          </a:xfrm>
          <a:prstGeom prst="rect">
            <a:avLst/>
          </a:prstGeom>
        </p:spPr>
        <p:txBody>
          <a:bodyPr anchor="ctr"/>
          <a:lstStyle>
            <a:lvl1pPr marL="0" indent="0" algn="ctr">
              <a:buNone/>
              <a:defRPr sz="2250">
                <a:solidFill>
                  <a:schemeClr val="bg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Section Title</a:t>
            </a:r>
          </a:p>
        </p:txBody>
      </p:sp>
    </p:spTree>
    <p:extLst>
      <p:ext uri="{BB962C8B-B14F-4D97-AF65-F5344CB8AC3E}">
        <p14:creationId xmlns:p14="http://schemas.microsoft.com/office/powerpoint/2010/main" val="1766554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ounded Rectangle 12"/>
          <p:cNvSpPr>
            <a:spLocks noChangeArrowheads="1"/>
          </p:cNvSpPr>
          <p:nvPr userDrawn="1"/>
        </p:nvSpPr>
        <p:spPr bwMode="auto">
          <a:xfrm>
            <a:off x="0" y="655070"/>
            <a:ext cx="12192000" cy="6202931"/>
          </a:xfrm>
          <a:prstGeom prst="rect">
            <a:avLst/>
          </a:prstGeom>
          <a:solidFill>
            <a:srgbClr val="5193C6"/>
          </a:solidFill>
          <a:ln>
            <a:noFill/>
          </a:ln>
        </p:spPr>
        <p:txBody>
          <a:bodyPr anchor="ctr"/>
          <a:lstStyle/>
          <a:p>
            <a:pPr eaLnBrk="0" fontAlgn="base" hangingPunct="0">
              <a:spcBef>
                <a:spcPct val="0"/>
              </a:spcBef>
              <a:spcAft>
                <a:spcPct val="0"/>
              </a:spcAft>
            </a:pPr>
            <a:endParaRPr lang="en-US" sz="2250" b="1" cap="all" dirty="0">
              <a:solidFill>
                <a:srgbClr val="FFC000"/>
              </a:solidFill>
              <a:latin typeface="Century Gothic" panose="020B0502020202020204" pitchFamily="34" charset="0"/>
              <a:cs typeface="Arial"/>
            </a:endParaRPr>
          </a:p>
        </p:txBody>
      </p:sp>
      <p:sp>
        <p:nvSpPr>
          <p:cNvPr id="5" name="Title 1"/>
          <p:cNvSpPr>
            <a:spLocks noGrp="1"/>
          </p:cNvSpPr>
          <p:nvPr>
            <p:ph type="title" hasCustomPrompt="1"/>
          </p:nvPr>
        </p:nvSpPr>
        <p:spPr>
          <a:xfrm>
            <a:off x="3555096" y="125606"/>
            <a:ext cx="8319912" cy="430886"/>
          </a:xfrm>
          <a:prstGeom prst="rect">
            <a:avLst/>
          </a:prstGeom>
        </p:spPr>
        <p:txBody>
          <a:bodyPr anchor="ctr"/>
          <a:lstStyle>
            <a:lvl1pPr algn="r" rtl="0" eaLnBrk="1" fontAlgn="base" hangingPunct="1">
              <a:spcBef>
                <a:spcPct val="0"/>
              </a:spcBef>
              <a:spcAft>
                <a:spcPct val="0"/>
              </a:spcAft>
              <a:defRPr lang="en-US" sz="2200" b="1" kern="1200" baseline="0" dirty="0">
                <a:solidFill>
                  <a:srgbClr val="FFFFFF"/>
                </a:solidFill>
                <a:latin typeface="Century Gothic" panose="020B0502020202020204" pitchFamily="34" charset="0"/>
                <a:ea typeface="+mn-ea"/>
                <a:cs typeface="Arial" panose="020B0604020202020204" pitchFamily="34" charset="0"/>
              </a:defRPr>
            </a:lvl1pPr>
          </a:lstStyle>
          <a:p>
            <a:r>
              <a:rPr lang="en-US" dirty="0"/>
              <a:t>Click to edit Title</a:t>
            </a:r>
          </a:p>
        </p:txBody>
      </p:sp>
    </p:spTree>
    <p:extLst>
      <p:ext uri="{BB962C8B-B14F-4D97-AF65-F5344CB8AC3E}">
        <p14:creationId xmlns:p14="http://schemas.microsoft.com/office/powerpoint/2010/main" val="2211445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8"/>
          <a:stretch>
            <a:fillRect/>
          </a:stretch>
        </p:blipFill>
        <p:spPr>
          <a:xfrm>
            <a:off x="-30646" y="163"/>
            <a:ext cx="12327180" cy="798645"/>
          </a:xfrm>
          <a:prstGeom prst="rect">
            <a:avLst/>
          </a:prstGeom>
        </p:spPr>
      </p:pic>
      <p:sp>
        <p:nvSpPr>
          <p:cNvPr id="2" name="Title Placeholder 1"/>
          <p:cNvSpPr>
            <a:spLocks noGrp="1"/>
          </p:cNvSpPr>
          <p:nvPr>
            <p:ph type="title"/>
          </p:nvPr>
        </p:nvSpPr>
        <p:spPr>
          <a:xfrm>
            <a:off x="5337544" y="13252"/>
            <a:ext cx="6854456" cy="68849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546958" y="6475228"/>
            <a:ext cx="645041" cy="382773"/>
          </a:xfrm>
          <a:prstGeom prst="rect">
            <a:avLst/>
          </a:prstGeom>
        </p:spPr>
        <p:txBody>
          <a:bodyPr vert="horz" lIns="91440" tIns="45720" rIns="91440" bIns="45720" rtlCol="0" anchor="ctr"/>
          <a:lstStyle>
            <a:lvl1pPr algn="r">
              <a:defRPr sz="1200">
                <a:solidFill>
                  <a:schemeClr val="bg1">
                    <a:lumMod val="50000"/>
                  </a:schemeClr>
                </a:solidFill>
              </a:defRPr>
            </a:lvl1pPr>
          </a:lstStyle>
          <a:p>
            <a:fld id="{D707304A-433C-4B5B-A507-AD407BE4ED27}" type="slidenum">
              <a:rPr lang="en-US" smtClean="0"/>
              <a:pPr/>
              <a:t>‹#›</a:t>
            </a:fld>
            <a:endParaRPr lang="en-US" dirty="0"/>
          </a:p>
        </p:txBody>
      </p:sp>
    </p:spTree>
    <p:extLst>
      <p:ext uri="{BB962C8B-B14F-4D97-AF65-F5344CB8AC3E}">
        <p14:creationId xmlns:p14="http://schemas.microsoft.com/office/powerpoint/2010/main" val="116650043"/>
      </p:ext>
    </p:extLst>
  </p:cSld>
  <p:clrMap bg1="lt1" tx1="dk1" bg2="lt2" tx2="dk2" accent1="accent1" accent2="accent2" accent3="accent3" accent4="accent4" accent5="accent5" accent6="accent6" hlink="hlink" folHlink="folHlink"/>
  <p:sldLayoutIdLst>
    <p:sldLayoutId id="2147483649" r:id="rId1"/>
    <p:sldLayoutId id="2147483668" r:id="rId2"/>
    <p:sldLayoutId id="2147483673" r:id="rId3"/>
    <p:sldLayoutId id="2147483676" r:id="rId4"/>
    <p:sldLayoutId id="2147483677" r:id="rId5"/>
    <p:sldLayoutId id="2147483678" r:id="rId6"/>
  </p:sldLayoutIdLst>
  <p:hf sldNum="0" hdr="0" ftr="0" dt="0"/>
  <p:txStyles>
    <p:title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711200" y="76200"/>
            <a:ext cx="3251200" cy="533400"/>
          </a:xfrm>
          <a:prstGeom prst="rect">
            <a:avLst/>
          </a:prstGeom>
          <a:solidFill>
            <a:srgbClr val="519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dirty="0">
              <a:solidFill>
                <a:prstClr val="white"/>
              </a:solidFill>
            </a:endParaRPr>
          </a:p>
        </p:txBody>
      </p:sp>
      <p:grpSp>
        <p:nvGrpSpPr>
          <p:cNvPr id="6" name="Group 7"/>
          <p:cNvGrpSpPr>
            <a:grpSpLocks/>
          </p:cNvGrpSpPr>
          <p:nvPr userDrawn="1"/>
        </p:nvGrpSpPr>
        <p:grpSpPr bwMode="auto">
          <a:xfrm>
            <a:off x="256621" y="169028"/>
            <a:ext cx="2931584" cy="427038"/>
            <a:chOff x="390" y="948"/>
            <a:chExt cx="1385" cy="269"/>
          </a:xfrm>
        </p:grpSpPr>
        <p:grpSp>
          <p:nvGrpSpPr>
            <p:cNvPr id="7" name="Group 8"/>
            <p:cNvGrpSpPr>
              <a:grpSpLocks/>
            </p:cNvGrpSpPr>
            <p:nvPr/>
          </p:nvGrpSpPr>
          <p:grpSpPr bwMode="auto">
            <a:xfrm>
              <a:off x="390" y="948"/>
              <a:ext cx="1296" cy="230"/>
              <a:chOff x="397" y="387"/>
              <a:chExt cx="1752" cy="303"/>
            </a:xfrm>
          </p:grpSpPr>
          <p:sp>
            <p:nvSpPr>
              <p:cNvPr id="10" name="Freeform 9"/>
              <p:cNvSpPr>
                <a:spLocks/>
              </p:cNvSpPr>
              <p:nvPr/>
            </p:nvSpPr>
            <p:spPr bwMode="auto">
              <a:xfrm>
                <a:off x="397" y="387"/>
                <a:ext cx="497" cy="303"/>
              </a:xfrm>
              <a:custGeom>
                <a:avLst/>
                <a:gdLst>
                  <a:gd name="T0" fmla="*/ 399 w 498"/>
                  <a:gd name="T1" fmla="*/ 302 h 303"/>
                  <a:gd name="T2" fmla="*/ 465 w 498"/>
                  <a:gd name="T3" fmla="*/ 0 h 303"/>
                  <a:gd name="T4" fmla="*/ 66 w 498"/>
                  <a:gd name="T5" fmla="*/ 0 h 303"/>
                  <a:gd name="T6" fmla="*/ 0 w 498"/>
                  <a:gd name="T7" fmla="*/ 302 h 303"/>
                  <a:gd name="T8" fmla="*/ 399 w 498"/>
                  <a:gd name="T9" fmla="*/ 302 h 3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8" h="303">
                    <a:moveTo>
                      <a:pt x="431" y="302"/>
                    </a:moveTo>
                    <a:lnTo>
                      <a:pt x="497" y="0"/>
                    </a:lnTo>
                    <a:lnTo>
                      <a:pt x="66" y="0"/>
                    </a:lnTo>
                    <a:lnTo>
                      <a:pt x="0" y="302"/>
                    </a:lnTo>
                    <a:lnTo>
                      <a:pt x="431" y="302"/>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1" name="Freeform 10"/>
              <p:cNvSpPr>
                <a:spLocks/>
              </p:cNvSpPr>
              <p:nvPr/>
            </p:nvSpPr>
            <p:spPr bwMode="auto">
              <a:xfrm>
                <a:off x="447" y="398"/>
                <a:ext cx="438" cy="283"/>
              </a:xfrm>
              <a:custGeom>
                <a:avLst/>
                <a:gdLst>
                  <a:gd name="T0" fmla="*/ 27 w 436"/>
                  <a:gd name="T1" fmla="*/ 2 h 283"/>
                  <a:gd name="T2" fmla="*/ 32 w 436"/>
                  <a:gd name="T3" fmla="*/ 3 h 283"/>
                  <a:gd name="T4" fmla="*/ 42 w 436"/>
                  <a:gd name="T5" fmla="*/ 4 h 283"/>
                  <a:gd name="T6" fmla="*/ 56 w 436"/>
                  <a:gd name="T7" fmla="*/ 7 h 283"/>
                  <a:gd name="T8" fmla="*/ 73 w 436"/>
                  <a:gd name="T9" fmla="*/ 10 h 283"/>
                  <a:gd name="T10" fmla="*/ 92 w 436"/>
                  <a:gd name="T11" fmla="*/ 15 h 283"/>
                  <a:gd name="T12" fmla="*/ 145 w 436"/>
                  <a:gd name="T13" fmla="*/ 19 h 283"/>
                  <a:gd name="T14" fmla="*/ 168 w 436"/>
                  <a:gd name="T15" fmla="*/ 23 h 283"/>
                  <a:gd name="T16" fmla="*/ 191 w 436"/>
                  <a:gd name="T17" fmla="*/ 28 h 283"/>
                  <a:gd name="T18" fmla="*/ 213 w 436"/>
                  <a:gd name="T19" fmla="*/ 32 h 283"/>
                  <a:gd name="T20" fmla="*/ 234 w 436"/>
                  <a:gd name="T21" fmla="*/ 36 h 283"/>
                  <a:gd name="T22" fmla="*/ 254 w 436"/>
                  <a:gd name="T23" fmla="*/ 41 h 283"/>
                  <a:gd name="T24" fmla="*/ 271 w 436"/>
                  <a:gd name="T25" fmla="*/ 44 h 283"/>
                  <a:gd name="T26" fmla="*/ 286 w 436"/>
                  <a:gd name="T27" fmla="*/ 47 h 283"/>
                  <a:gd name="T28" fmla="*/ 296 w 436"/>
                  <a:gd name="T29" fmla="*/ 49 h 283"/>
                  <a:gd name="T30" fmla="*/ 302 w 436"/>
                  <a:gd name="T31" fmla="*/ 50 h 283"/>
                  <a:gd name="T32" fmla="*/ 313 w 436"/>
                  <a:gd name="T33" fmla="*/ 52 h 283"/>
                  <a:gd name="T34" fmla="*/ 329 w 436"/>
                  <a:gd name="T35" fmla="*/ 56 h 283"/>
                  <a:gd name="T36" fmla="*/ 353 w 436"/>
                  <a:gd name="T37" fmla="*/ 60 h 283"/>
                  <a:gd name="T38" fmla="*/ 369 w 436"/>
                  <a:gd name="T39" fmla="*/ 63 h 283"/>
                  <a:gd name="T40" fmla="*/ 379 w 436"/>
                  <a:gd name="T41" fmla="*/ 65 h 283"/>
                  <a:gd name="T42" fmla="*/ 383 w 436"/>
                  <a:gd name="T43" fmla="*/ 68 h 283"/>
                  <a:gd name="T44" fmla="*/ 385 w 436"/>
                  <a:gd name="T45" fmla="*/ 69 h 283"/>
                  <a:gd name="T46" fmla="*/ 387 w 436"/>
                  <a:gd name="T47" fmla="*/ 70 h 283"/>
                  <a:gd name="T48" fmla="*/ 402 w 436"/>
                  <a:gd name="T49" fmla="*/ 70 h 283"/>
                  <a:gd name="T50" fmla="*/ 412 w 436"/>
                  <a:gd name="T51" fmla="*/ 71 h 283"/>
                  <a:gd name="T52" fmla="*/ 420 w 436"/>
                  <a:gd name="T53" fmla="*/ 71 h 283"/>
                  <a:gd name="T54" fmla="*/ 426 w 436"/>
                  <a:gd name="T55" fmla="*/ 71 h 283"/>
                  <a:gd name="T56" fmla="*/ 430 w 436"/>
                  <a:gd name="T57" fmla="*/ 73 h 283"/>
                  <a:gd name="T58" fmla="*/ 434 w 436"/>
                  <a:gd name="T59" fmla="*/ 74 h 283"/>
                  <a:gd name="T60" fmla="*/ 437 w 436"/>
                  <a:gd name="T61" fmla="*/ 75 h 283"/>
                  <a:gd name="T62" fmla="*/ 439 w 436"/>
                  <a:gd name="T63" fmla="*/ 77 h 283"/>
                  <a:gd name="T64" fmla="*/ 444 w 436"/>
                  <a:gd name="T65" fmla="*/ 85 h 283"/>
                  <a:gd name="T66" fmla="*/ 446 w 436"/>
                  <a:gd name="T67" fmla="*/ 95 h 283"/>
                  <a:gd name="T68" fmla="*/ 444 w 436"/>
                  <a:gd name="T69" fmla="*/ 105 h 283"/>
                  <a:gd name="T70" fmla="*/ 441 w 436"/>
                  <a:gd name="T71" fmla="*/ 116 h 283"/>
                  <a:gd name="T72" fmla="*/ 436 w 436"/>
                  <a:gd name="T73" fmla="*/ 127 h 283"/>
                  <a:gd name="T74" fmla="*/ 431 w 436"/>
                  <a:gd name="T75" fmla="*/ 135 h 283"/>
                  <a:gd name="T76" fmla="*/ 428 w 436"/>
                  <a:gd name="T77" fmla="*/ 141 h 283"/>
                  <a:gd name="T78" fmla="*/ 426 w 436"/>
                  <a:gd name="T79" fmla="*/ 143 h 283"/>
                  <a:gd name="T80" fmla="*/ 422 w 436"/>
                  <a:gd name="T81" fmla="*/ 145 h 283"/>
                  <a:gd name="T82" fmla="*/ 409 w 436"/>
                  <a:gd name="T83" fmla="*/ 150 h 283"/>
                  <a:gd name="T84" fmla="*/ 391 w 436"/>
                  <a:gd name="T85" fmla="*/ 157 h 283"/>
                  <a:gd name="T86" fmla="*/ 345 w 436"/>
                  <a:gd name="T87" fmla="*/ 166 h 283"/>
                  <a:gd name="T88" fmla="*/ 308 w 436"/>
                  <a:gd name="T89" fmla="*/ 177 h 283"/>
                  <a:gd name="T90" fmla="*/ 278 w 436"/>
                  <a:gd name="T91" fmla="*/ 188 h 283"/>
                  <a:gd name="T92" fmla="*/ 245 w 436"/>
                  <a:gd name="T93" fmla="*/ 201 h 283"/>
                  <a:gd name="T94" fmla="*/ 212 w 436"/>
                  <a:gd name="T95" fmla="*/ 213 h 283"/>
                  <a:gd name="T96" fmla="*/ 178 w 436"/>
                  <a:gd name="T97" fmla="*/ 226 h 283"/>
                  <a:gd name="T98" fmla="*/ 145 w 436"/>
                  <a:gd name="T99" fmla="*/ 239 h 283"/>
                  <a:gd name="T100" fmla="*/ 83 w 436"/>
                  <a:gd name="T101" fmla="*/ 250 h 283"/>
                  <a:gd name="T102" fmla="*/ 56 w 436"/>
                  <a:gd name="T103" fmla="*/ 261 h 283"/>
                  <a:gd name="T104" fmla="*/ 33 w 436"/>
                  <a:gd name="T105" fmla="*/ 269 h 283"/>
                  <a:gd name="T106" fmla="*/ 15 w 436"/>
                  <a:gd name="T107" fmla="*/ 276 h 283"/>
                  <a:gd name="T108" fmla="*/ 4 w 436"/>
                  <a:gd name="T109" fmla="*/ 280 h 283"/>
                  <a:gd name="T110" fmla="*/ 0 w 436"/>
                  <a:gd name="T111" fmla="*/ 282 h 283"/>
                  <a:gd name="T112" fmla="*/ 499 w 436"/>
                  <a:gd name="T113" fmla="*/ 0 h 283"/>
                  <a:gd name="T114" fmla="*/ 26 w 436"/>
                  <a:gd name="T115" fmla="*/ 2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6" h="283">
                    <a:moveTo>
                      <a:pt x="26" y="2"/>
                    </a:moveTo>
                    <a:lnTo>
                      <a:pt x="27" y="2"/>
                    </a:lnTo>
                    <a:lnTo>
                      <a:pt x="29" y="2"/>
                    </a:lnTo>
                    <a:lnTo>
                      <a:pt x="32" y="3"/>
                    </a:lnTo>
                    <a:lnTo>
                      <a:pt x="37" y="3"/>
                    </a:lnTo>
                    <a:lnTo>
                      <a:pt x="42" y="4"/>
                    </a:lnTo>
                    <a:lnTo>
                      <a:pt x="48" y="6"/>
                    </a:lnTo>
                    <a:lnTo>
                      <a:pt x="56" y="7"/>
                    </a:lnTo>
                    <a:lnTo>
                      <a:pt x="64" y="9"/>
                    </a:lnTo>
                    <a:lnTo>
                      <a:pt x="73" y="10"/>
                    </a:lnTo>
                    <a:lnTo>
                      <a:pt x="82" y="13"/>
                    </a:lnTo>
                    <a:lnTo>
                      <a:pt x="92" y="15"/>
                    </a:lnTo>
                    <a:lnTo>
                      <a:pt x="102" y="17"/>
                    </a:lnTo>
                    <a:lnTo>
                      <a:pt x="113" y="19"/>
                    </a:lnTo>
                    <a:lnTo>
                      <a:pt x="125" y="21"/>
                    </a:lnTo>
                    <a:lnTo>
                      <a:pt x="136" y="23"/>
                    </a:lnTo>
                    <a:lnTo>
                      <a:pt x="147" y="25"/>
                    </a:lnTo>
                    <a:lnTo>
                      <a:pt x="159" y="28"/>
                    </a:lnTo>
                    <a:lnTo>
                      <a:pt x="170" y="30"/>
                    </a:lnTo>
                    <a:lnTo>
                      <a:pt x="181" y="32"/>
                    </a:lnTo>
                    <a:lnTo>
                      <a:pt x="192" y="35"/>
                    </a:lnTo>
                    <a:lnTo>
                      <a:pt x="202" y="36"/>
                    </a:lnTo>
                    <a:lnTo>
                      <a:pt x="212" y="39"/>
                    </a:lnTo>
                    <a:lnTo>
                      <a:pt x="222" y="41"/>
                    </a:lnTo>
                    <a:lnTo>
                      <a:pt x="231" y="43"/>
                    </a:lnTo>
                    <a:lnTo>
                      <a:pt x="239" y="44"/>
                    </a:lnTo>
                    <a:lnTo>
                      <a:pt x="247" y="46"/>
                    </a:lnTo>
                    <a:lnTo>
                      <a:pt x="254" y="47"/>
                    </a:lnTo>
                    <a:lnTo>
                      <a:pt x="259" y="48"/>
                    </a:lnTo>
                    <a:lnTo>
                      <a:pt x="264" y="49"/>
                    </a:lnTo>
                    <a:lnTo>
                      <a:pt x="268" y="50"/>
                    </a:lnTo>
                    <a:lnTo>
                      <a:pt x="270" y="50"/>
                    </a:lnTo>
                    <a:lnTo>
                      <a:pt x="271" y="50"/>
                    </a:lnTo>
                    <a:lnTo>
                      <a:pt x="281" y="52"/>
                    </a:lnTo>
                    <a:lnTo>
                      <a:pt x="289" y="54"/>
                    </a:lnTo>
                    <a:lnTo>
                      <a:pt x="296" y="56"/>
                    </a:lnTo>
                    <a:lnTo>
                      <a:pt x="303" y="58"/>
                    </a:lnTo>
                    <a:lnTo>
                      <a:pt x="308" y="60"/>
                    </a:lnTo>
                    <a:lnTo>
                      <a:pt x="312" y="61"/>
                    </a:lnTo>
                    <a:lnTo>
                      <a:pt x="316" y="63"/>
                    </a:lnTo>
                    <a:lnTo>
                      <a:pt x="319" y="64"/>
                    </a:lnTo>
                    <a:lnTo>
                      <a:pt x="321" y="65"/>
                    </a:lnTo>
                    <a:lnTo>
                      <a:pt x="322" y="67"/>
                    </a:lnTo>
                    <a:lnTo>
                      <a:pt x="323" y="68"/>
                    </a:lnTo>
                    <a:lnTo>
                      <a:pt x="324" y="69"/>
                    </a:lnTo>
                    <a:lnTo>
                      <a:pt x="325" y="70"/>
                    </a:lnTo>
                    <a:lnTo>
                      <a:pt x="332" y="70"/>
                    </a:lnTo>
                    <a:lnTo>
                      <a:pt x="338" y="70"/>
                    </a:lnTo>
                    <a:lnTo>
                      <a:pt x="343" y="70"/>
                    </a:lnTo>
                    <a:lnTo>
                      <a:pt x="348" y="71"/>
                    </a:lnTo>
                    <a:lnTo>
                      <a:pt x="352" y="71"/>
                    </a:lnTo>
                    <a:lnTo>
                      <a:pt x="356" y="71"/>
                    </a:lnTo>
                    <a:lnTo>
                      <a:pt x="359" y="71"/>
                    </a:lnTo>
                    <a:lnTo>
                      <a:pt x="362" y="71"/>
                    </a:lnTo>
                    <a:lnTo>
                      <a:pt x="364" y="72"/>
                    </a:lnTo>
                    <a:lnTo>
                      <a:pt x="366" y="73"/>
                    </a:lnTo>
                    <a:lnTo>
                      <a:pt x="368" y="73"/>
                    </a:lnTo>
                    <a:lnTo>
                      <a:pt x="370" y="74"/>
                    </a:lnTo>
                    <a:lnTo>
                      <a:pt x="371" y="75"/>
                    </a:lnTo>
                    <a:lnTo>
                      <a:pt x="373" y="75"/>
                    </a:lnTo>
                    <a:lnTo>
                      <a:pt x="374" y="76"/>
                    </a:lnTo>
                    <a:lnTo>
                      <a:pt x="375" y="77"/>
                    </a:lnTo>
                    <a:lnTo>
                      <a:pt x="378" y="81"/>
                    </a:lnTo>
                    <a:lnTo>
                      <a:pt x="380" y="85"/>
                    </a:lnTo>
                    <a:lnTo>
                      <a:pt x="381" y="90"/>
                    </a:lnTo>
                    <a:lnTo>
                      <a:pt x="382" y="95"/>
                    </a:lnTo>
                    <a:lnTo>
                      <a:pt x="381" y="100"/>
                    </a:lnTo>
                    <a:lnTo>
                      <a:pt x="380" y="105"/>
                    </a:lnTo>
                    <a:lnTo>
                      <a:pt x="379" y="111"/>
                    </a:lnTo>
                    <a:lnTo>
                      <a:pt x="377" y="116"/>
                    </a:lnTo>
                    <a:lnTo>
                      <a:pt x="374" y="122"/>
                    </a:lnTo>
                    <a:lnTo>
                      <a:pt x="372" y="127"/>
                    </a:lnTo>
                    <a:lnTo>
                      <a:pt x="370" y="131"/>
                    </a:lnTo>
                    <a:lnTo>
                      <a:pt x="367" y="135"/>
                    </a:lnTo>
                    <a:lnTo>
                      <a:pt x="365" y="139"/>
                    </a:lnTo>
                    <a:lnTo>
                      <a:pt x="364" y="141"/>
                    </a:lnTo>
                    <a:lnTo>
                      <a:pt x="363" y="142"/>
                    </a:lnTo>
                    <a:lnTo>
                      <a:pt x="362" y="143"/>
                    </a:lnTo>
                    <a:lnTo>
                      <a:pt x="361" y="144"/>
                    </a:lnTo>
                    <a:lnTo>
                      <a:pt x="358" y="145"/>
                    </a:lnTo>
                    <a:lnTo>
                      <a:pt x="352" y="147"/>
                    </a:lnTo>
                    <a:lnTo>
                      <a:pt x="345" y="150"/>
                    </a:lnTo>
                    <a:lnTo>
                      <a:pt x="337" y="153"/>
                    </a:lnTo>
                    <a:lnTo>
                      <a:pt x="327" y="157"/>
                    </a:lnTo>
                    <a:lnTo>
                      <a:pt x="316" y="161"/>
                    </a:lnTo>
                    <a:lnTo>
                      <a:pt x="304" y="166"/>
                    </a:lnTo>
                    <a:lnTo>
                      <a:pt x="290" y="171"/>
                    </a:lnTo>
                    <a:lnTo>
                      <a:pt x="276" y="177"/>
                    </a:lnTo>
                    <a:lnTo>
                      <a:pt x="261" y="182"/>
                    </a:lnTo>
                    <a:lnTo>
                      <a:pt x="246" y="188"/>
                    </a:lnTo>
                    <a:lnTo>
                      <a:pt x="230" y="195"/>
                    </a:lnTo>
                    <a:lnTo>
                      <a:pt x="213" y="201"/>
                    </a:lnTo>
                    <a:lnTo>
                      <a:pt x="196" y="207"/>
                    </a:lnTo>
                    <a:lnTo>
                      <a:pt x="180" y="213"/>
                    </a:lnTo>
                    <a:lnTo>
                      <a:pt x="163" y="220"/>
                    </a:lnTo>
                    <a:lnTo>
                      <a:pt x="146" y="226"/>
                    </a:lnTo>
                    <a:lnTo>
                      <a:pt x="130" y="233"/>
                    </a:lnTo>
                    <a:lnTo>
                      <a:pt x="113" y="239"/>
                    </a:lnTo>
                    <a:lnTo>
                      <a:pt x="98" y="245"/>
                    </a:lnTo>
                    <a:lnTo>
                      <a:pt x="83" y="250"/>
                    </a:lnTo>
                    <a:lnTo>
                      <a:pt x="69" y="256"/>
                    </a:lnTo>
                    <a:lnTo>
                      <a:pt x="56" y="261"/>
                    </a:lnTo>
                    <a:lnTo>
                      <a:pt x="44" y="265"/>
                    </a:lnTo>
                    <a:lnTo>
                      <a:pt x="33" y="269"/>
                    </a:lnTo>
                    <a:lnTo>
                      <a:pt x="24" y="273"/>
                    </a:lnTo>
                    <a:lnTo>
                      <a:pt x="15" y="276"/>
                    </a:lnTo>
                    <a:lnTo>
                      <a:pt x="9" y="279"/>
                    </a:lnTo>
                    <a:lnTo>
                      <a:pt x="4" y="280"/>
                    </a:lnTo>
                    <a:lnTo>
                      <a:pt x="1" y="282"/>
                    </a:lnTo>
                    <a:lnTo>
                      <a:pt x="0" y="282"/>
                    </a:lnTo>
                    <a:lnTo>
                      <a:pt x="374" y="282"/>
                    </a:lnTo>
                    <a:lnTo>
                      <a:pt x="435" y="0"/>
                    </a:lnTo>
                    <a:lnTo>
                      <a:pt x="26" y="0"/>
                    </a:lnTo>
                    <a:lnTo>
                      <a:pt x="26" y="2"/>
                    </a:lnTo>
                  </a:path>
                </a:pathLst>
              </a:custGeom>
              <a:solidFill>
                <a:srgbClr val="214B9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2" name="Freeform 11"/>
              <p:cNvSpPr>
                <a:spLocks/>
              </p:cNvSpPr>
              <p:nvPr/>
            </p:nvSpPr>
            <p:spPr bwMode="auto">
              <a:xfrm>
                <a:off x="717" y="484"/>
                <a:ext cx="93" cy="46"/>
              </a:xfrm>
              <a:custGeom>
                <a:avLst/>
                <a:gdLst>
                  <a:gd name="T0" fmla="*/ 32 w 93"/>
                  <a:gd name="T1" fmla="*/ 9 h 46"/>
                  <a:gd name="T2" fmla="*/ 25 w 93"/>
                  <a:gd name="T3" fmla="*/ 10 h 46"/>
                  <a:gd name="T4" fmla="*/ 18 w 93"/>
                  <a:gd name="T5" fmla="*/ 11 h 46"/>
                  <a:gd name="T6" fmla="*/ 11 w 93"/>
                  <a:gd name="T7" fmla="*/ 12 h 46"/>
                  <a:gd name="T8" fmla="*/ 4 w 93"/>
                  <a:gd name="T9" fmla="*/ 13 h 46"/>
                  <a:gd name="T10" fmla="*/ 1 w 93"/>
                  <a:gd name="T11" fmla="*/ 14 h 46"/>
                  <a:gd name="T12" fmla="*/ 0 w 93"/>
                  <a:gd name="T13" fmla="*/ 16 h 46"/>
                  <a:gd name="T14" fmla="*/ 1 w 93"/>
                  <a:gd name="T15" fmla="*/ 18 h 46"/>
                  <a:gd name="T16" fmla="*/ 3 w 93"/>
                  <a:gd name="T17" fmla="*/ 19 h 46"/>
                  <a:gd name="T18" fmla="*/ 7 w 93"/>
                  <a:gd name="T19" fmla="*/ 19 h 46"/>
                  <a:gd name="T20" fmla="*/ 14 w 93"/>
                  <a:gd name="T21" fmla="*/ 19 h 46"/>
                  <a:gd name="T22" fmla="*/ 23 w 93"/>
                  <a:gd name="T23" fmla="*/ 19 h 46"/>
                  <a:gd name="T24" fmla="*/ 33 w 93"/>
                  <a:gd name="T25" fmla="*/ 17 h 46"/>
                  <a:gd name="T26" fmla="*/ 43 w 93"/>
                  <a:gd name="T27" fmla="*/ 16 h 46"/>
                  <a:gd name="T28" fmla="*/ 53 w 93"/>
                  <a:gd name="T29" fmla="*/ 15 h 46"/>
                  <a:gd name="T30" fmla="*/ 62 w 93"/>
                  <a:gd name="T31" fmla="*/ 15 h 46"/>
                  <a:gd name="T32" fmla="*/ 70 w 93"/>
                  <a:gd name="T33" fmla="*/ 14 h 46"/>
                  <a:gd name="T34" fmla="*/ 76 w 93"/>
                  <a:gd name="T35" fmla="*/ 15 h 46"/>
                  <a:gd name="T36" fmla="*/ 81 w 93"/>
                  <a:gd name="T37" fmla="*/ 16 h 46"/>
                  <a:gd name="T38" fmla="*/ 82 w 93"/>
                  <a:gd name="T39" fmla="*/ 20 h 46"/>
                  <a:gd name="T40" fmla="*/ 80 w 93"/>
                  <a:gd name="T41" fmla="*/ 27 h 46"/>
                  <a:gd name="T42" fmla="*/ 77 w 93"/>
                  <a:gd name="T43" fmla="*/ 36 h 46"/>
                  <a:gd name="T44" fmla="*/ 75 w 93"/>
                  <a:gd name="T45" fmla="*/ 44 h 46"/>
                  <a:gd name="T46" fmla="*/ 77 w 93"/>
                  <a:gd name="T47" fmla="*/ 45 h 46"/>
                  <a:gd name="T48" fmla="*/ 80 w 93"/>
                  <a:gd name="T49" fmla="*/ 42 h 46"/>
                  <a:gd name="T50" fmla="*/ 84 w 93"/>
                  <a:gd name="T51" fmla="*/ 35 h 46"/>
                  <a:gd name="T52" fmla="*/ 88 w 93"/>
                  <a:gd name="T53" fmla="*/ 27 h 46"/>
                  <a:gd name="T54" fmla="*/ 91 w 93"/>
                  <a:gd name="T55" fmla="*/ 19 h 46"/>
                  <a:gd name="T56" fmla="*/ 92 w 93"/>
                  <a:gd name="T57" fmla="*/ 10 h 46"/>
                  <a:gd name="T58" fmla="*/ 89 w 93"/>
                  <a:gd name="T59" fmla="*/ 5 h 46"/>
                  <a:gd name="T60" fmla="*/ 82 w 93"/>
                  <a:gd name="T61" fmla="*/ 2 h 46"/>
                  <a:gd name="T62" fmla="*/ 73 w 93"/>
                  <a:gd name="T63" fmla="*/ 0 h 46"/>
                  <a:gd name="T64" fmla="*/ 44 w 93"/>
                  <a:gd name="T65" fmla="*/ 0 h 46"/>
                  <a:gd name="T66" fmla="*/ 41 w 93"/>
                  <a:gd name="T67" fmla="*/ 1 h 46"/>
                  <a:gd name="T68" fmla="*/ 39 w 93"/>
                  <a:gd name="T69" fmla="*/ 3 h 46"/>
                  <a:gd name="T70" fmla="*/ 37 w 93"/>
                  <a:gd name="T71" fmla="*/ 5 h 46"/>
                  <a:gd name="T72" fmla="*/ 34 w 93"/>
                  <a:gd name="T73" fmla="*/ 7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3" h="46">
                    <a:moveTo>
                      <a:pt x="34" y="7"/>
                    </a:moveTo>
                    <a:lnTo>
                      <a:pt x="32" y="9"/>
                    </a:lnTo>
                    <a:lnTo>
                      <a:pt x="28" y="10"/>
                    </a:lnTo>
                    <a:lnTo>
                      <a:pt x="25" y="10"/>
                    </a:lnTo>
                    <a:lnTo>
                      <a:pt x="21" y="10"/>
                    </a:lnTo>
                    <a:lnTo>
                      <a:pt x="18" y="11"/>
                    </a:lnTo>
                    <a:lnTo>
                      <a:pt x="14" y="12"/>
                    </a:lnTo>
                    <a:lnTo>
                      <a:pt x="11" y="12"/>
                    </a:lnTo>
                    <a:lnTo>
                      <a:pt x="8" y="12"/>
                    </a:lnTo>
                    <a:lnTo>
                      <a:pt x="4" y="13"/>
                    </a:lnTo>
                    <a:lnTo>
                      <a:pt x="2" y="13"/>
                    </a:lnTo>
                    <a:lnTo>
                      <a:pt x="1" y="14"/>
                    </a:lnTo>
                    <a:lnTo>
                      <a:pt x="0" y="16"/>
                    </a:lnTo>
                    <a:lnTo>
                      <a:pt x="0" y="17"/>
                    </a:lnTo>
                    <a:lnTo>
                      <a:pt x="1" y="18"/>
                    </a:lnTo>
                    <a:lnTo>
                      <a:pt x="2" y="18"/>
                    </a:lnTo>
                    <a:lnTo>
                      <a:pt x="3" y="19"/>
                    </a:lnTo>
                    <a:lnTo>
                      <a:pt x="5" y="19"/>
                    </a:lnTo>
                    <a:lnTo>
                      <a:pt x="7" y="19"/>
                    </a:lnTo>
                    <a:lnTo>
                      <a:pt x="10" y="19"/>
                    </a:lnTo>
                    <a:lnTo>
                      <a:pt x="14" y="19"/>
                    </a:lnTo>
                    <a:lnTo>
                      <a:pt x="18" y="19"/>
                    </a:lnTo>
                    <a:lnTo>
                      <a:pt x="23" y="19"/>
                    </a:lnTo>
                    <a:lnTo>
                      <a:pt x="28" y="18"/>
                    </a:lnTo>
                    <a:lnTo>
                      <a:pt x="33" y="17"/>
                    </a:lnTo>
                    <a:lnTo>
                      <a:pt x="38" y="17"/>
                    </a:lnTo>
                    <a:lnTo>
                      <a:pt x="43" y="16"/>
                    </a:lnTo>
                    <a:lnTo>
                      <a:pt x="48" y="16"/>
                    </a:lnTo>
                    <a:lnTo>
                      <a:pt x="53" y="15"/>
                    </a:lnTo>
                    <a:lnTo>
                      <a:pt x="58" y="15"/>
                    </a:lnTo>
                    <a:lnTo>
                      <a:pt x="62" y="15"/>
                    </a:lnTo>
                    <a:lnTo>
                      <a:pt x="66" y="14"/>
                    </a:lnTo>
                    <a:lnTo>
                      <a:pt x="70" y="14"/>
                    </a:lnTo>
                    <a:lnTo>
                      <a:pt x="73" y="14"/>
                    </a:lnTo>
                    <a:lnTo>
                      <a:pt x="76" y="15"/>
                    </a:lnTo>
                    <a:lnTo>
                      <a:pt x="79" y="15"/>
                    </a:lnTo>
                    <a:lnTo>
                      <a:pt x="81" y="16"/>
                    </a:lnTo>
                    <a:lnTo>
                      <a:pt x="81" y="18"/>
                    </a:lnTo>
                    <a:lnTo>
                      <a:pt x="82" y="20"/>
                    </a:lnTo>
                    <a:lnTo>
                      <a:pt x="81" y="24"/>
                    </a:lnTo>
                    <a:lnTo>
                      <a:pt x="80" y="27"/>
                    </a:lnTo>
                    <a:lnTo>
                      <a:pt x="79" y="31"/>
                    </a:lnTo>
                    <a:lnTo>
                      <a:pt x="77" y="36"/>
                    </a:lnTo>
                    <a:lnTo>
                      <a:pt x="75" y="41"/>
                    </a:lnTo>
                    <a:lnTo>
                      <a:pt x="75" y="44"/>
                    </a:lnTo>
                    <a:lnTo>
                      <a:pt x="76" y="45"/>
                    </a:lnTo>
                    <a:lnTo>
                      <a:pt x="77" y="45"/>
                    </a:lnTo>
                    <a:lnTo>
                      <a:pt x="79" y="44"/>
                    </a:lnTo>
                    <a:lnTo>
                      <a:pt x="80" y="42"/>
                    </a:lnTo>
                    <a:lnTo>
                      <a:pt x="82" y="39"/>
                    </a:lnTo>
                    <a:lnTo>
                      <a:pt x="84" y="35"/>
                    </a:lnTo>
                    <a:lnTo>
                      <a:pt x="86" y="32"/>
                    </a:lnTo>
                    <a:lnTo>
                      <a:pt x="88" y="27"/>
                    </a:lnTo>
                    <a:lnTo>
                      <a:pt x="90" y="23"/>
                    </a:lnTo>
                    <a:lnTo>
                      <a:pt x="91" y="19"/>
                    </a:lnTo>
                    <a:lnTo>
                      <a:pt x="92" y="15"/>
                    </a:lnTo>
                    <a:lnTo>
                      <a:pt x="92" y="10"/>
                    </a:lnTo>
                    <a:lnTo>
                      <a:pt x="91" y="7"/>
                    </a:lnTo>
                    <a:lnTo>
                      <a:pt x="89" y="5"/>
                    </a:lnTo>
                    <a:lnTo>
                      <a:pt x="86" y="3"/>
                    </a:lnTo>
                    <a:lnTo>
                      <a:pt x="82" y="2"/>
                    </a:lnTo>
                    <a:lnTo>
                      <a:pt x="78" y="1"/>
                    </a:lnTo>
                    <a:lnTo>
                      <a:pt x="73" y="0"/>
                    </a:lnTo>
                    <a:lnTo>
                      <a:pt x="67" y="0"/>
                    </a:lnTo>
                    <a:lnTo>
                      <a:pt x="44" y="0"/>
                    </a:lnTo>
                    <a:lnTo>
                      <a:pt x="43" y="0"/>
                    </a:lnTo>
                    <a:lnTo>
                      <a:pt x="41" y="1"/>
                    </a:lnTo>
                    <a:lnTo>
                      <a:pt x="41" y="2"/>
                    </a:lnTo>
                    <a:lnTo>
                      <a:pt x="39" y="3"/>
                    </a:lnTo>
                    <a:lnTo>
                      <a:pt x="39" y="4"/>
                    </a:lnTo>
                    <a:lnTo>
                      <a:pt x="37" y="5"/>
                    </a:lnTo>
                    <a:lnTo>
                      <a:pt x="36" y="6"/>
                    </a:lnTo>
                    <a:lnTo>
                      <a:pt x="34" y="7"/>
                    </a:lnTo>
                  </a:path>
                </a:pathLst>
              </a:custGeom>
              <a:solidFill>
                <a:srgbClr val="0040C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3" name="Freeform 12"/>
              <p:cNvSpPr>
                <a:spLocks/>
              </p:cNvSpPr>
              <p:nvPr/>
            </p:nvSpPr>
            <p:spPr bwMode="auto">
              <a:xfrm>
                <a:off x="412" y="463"/>
                <a:ext cx="373" cy="216"/>
              </a:xfrm>
              <a:custGeom>
                <a:avLst/>
                <a:gdLst>
                  <a:gd name="T0" fmla="*/ 0 w 373"/>
                  <a:gd name="T1" fmla="*/ 184 h 217"/>
                  <a:gd name="T2" fmla="*/ 6 w 373"/>
                  <a:gd name="T3" fmla="*/ 181 h 217"/>
                  <a:gd name="T4" fmla="*/ 23 w 373"/>
                  <a:gd name="T5" fmla="*/ 173 h 217"/>
                  <a:gd name="T6" fmla="*/ 46 w 373"/>
                  <a:gd name="T7" fmla="*/ 162 h 217"/>
                  <a:gd name="T8" fmla="*/ 74 w 373"/>
                  <a:gd name="T9" fmla="*/ 148 h 217"/>
                  <a:gd name="T10" fmla="*/ 102 w 373"/>
                  <a:gd name="T11" fmla="*/ 135 h 217"/>
                  <a:gd name="T12" fmla="*/ 128 w 373"/>
                  <a:gd name="T13" fmla="*/ 122 h 217"/>
                  <a:gd name="T14" fmla="*/ 149 w 373"/>
                  <a:gd name="T15" fmla="*/ 112 h 217"/>
                  <a:gd name="T16" fmla="*/ 161 w 373"/>
                  <a:gd name="T17" fmla="*/ 108 h 217"/>
                  <a:gd name="T18" fmla="*/ 175 w 373"/>
                  <a:gd name="T19" fmla="*/ 108 h 217"/>
                  <a:gd name="T20" fmla="*/ 190 w 373"/>
                  <a:gd name="T21" fmla="*/ 108 h 217"/>
                  <a:gd name="T22" fmla="*/ 206 w 373"/>
                  <a:gd name="T23" fmla="*/ 108 h 217"/>
                  <a:gd name="T24" fmla="*/ 223 w 373"/>
                  <a:gd name="T25" fmla="*/ 108 h 217"/>
                  <a:gd name="T26" fmla="*/ 240 w 373"/>
                  <a:gd name="T27" fmla="*/ 101 h 217"/>
                  <a:gd name="T28" fmla="*/ 257 w 373"/>
                  <a:gd name="T29" fmla="*/ 94 h 217"/>
                  <a:gd name="T30" fmla="*/ 275 w 373"/>
                  <a:gd name="T31" fmla="*/ 87 h 217"/>
                  <a:gd name="T32" fmla="*/ 292 w 373"/>
                  <a:gd name="T33" fmla="*/ 81 h 217"/>
                  <a:gd name="T34" fmla="*/ 297 w 373"/>
                  <a:gd name="T35" fmla="*/ 79 h 217"/>
                  <a:gd name="T36" fmla="*/ 304 w 373"/>
                  <a:gd name="T37" fmla="*/ 77 h 217"/>
                  <a:gd name="T38" fmla="*/ 312 w 373"/>
                  <a:gd name="T39" fmla="*/ 75 h 217"/>
                  <a:gd name="T40" fmla="*/ 321 w 373"/>
                  <a:gd name="T41" fmla="*/ 72 h 217"/>
                  <a:gd name="T42" fmla="*/ 331 w 373"/>
                  <a:gd name="T43" fmla="*/ 69 h 217"/>
                  <a:gd name="T44" fmla="*/ 341 w 373"/>
                  <a:gd name="T45" fmla="*/ 67 h 217"/>
                  <a:gd name="T46" fmla="*/ 351 w 373"/>
                  <a:gd name="T47" fmla="*/ 64 h 217"/>
                  <a:gd name="T48" fmla="*/ 360 w 373"/>
                  <a:gd name="T49" fmla="*/ 63 h 217"/>
                  <a:gd name="T50" fmla="*/ 365 w 373"/>
                  <a:gd name="T51" fmla="*/ 62 h 217"/>
                  <a:gd name="T52" fmla="*/ 369 w 373"/>
                  <a:gd name="T53" fmla="*/ 61 h 217"/>
                  <a:gd name="T54" fmla="*/ 371 w 373"/>
                  <a:gd name="T55" fmla="*/ 59 h 217"/>
                  <a:gd name="T56" fmla="*/ 372 w 373"/>
                  <a:gd name="T57" fmla="*/ 58 h 217"/>
                  <a:gd name="T58" fmla="*/ 370 w 373"/>
                  <a:gd name="T59" fmla="*/ 56 h 217"/>
                  <a:gd name="T60" fmla="*/ 365 w 373"/>
                  <a:gd name="T61" fmla="*/ 55 h 217"/>
                  <a:gd name="T62" fmla="*/ 358 w 373"/>
                  <a:gd name="T63" fmla="*/ 54 h 217"/>
                  <a:gd name="T64" fmla="*/ 349 w 373"/>
                  <a:gd name="T65" fmla="*/ 54 h 217"/>
                  <a:gd name="T66" fmla="*/ 330 w 373"/>
                  <a:gd name="T67" fmla="*/ 56 h 217"/>
                  <a:gd name="T68" fmla="*/ 310 w 373"/>
                  <a:gd name="T69" fmla="*/ 61 h 217"/>
                  <a:gd name="T70" fmla="*/ 288 w 373"/>
                  <a:gd name="T71" fmla="*/ 67 h 217"/>
                  <a:gd name="T72" fmla="*/ 266 w 373"/>
                  <a:gd name="T73" fmla="*/ 74 h 217"/>
                  <a:gd name="T74" fmla="*/ 244 w 373"/>
                  <a:gd name="T75" fmla="*/ 82 h 217"/>
                  <a:gd name="T76" fmla="*/ 224 w 373"/>
                  <a:gd name="T77" fmla="*/ 90 h 217"/>
                  <a:gd name="T78" fmla="*/ 208 w 373"/>
                  <a:gd name="T79" fmla="*/ 96 h 217"/>
                  <a:gd name="T80" fmla="*/ 197 w 373"/>
                  <a:gd name="T81" fmla="*/ 102 h 217"/>
                  <a:gd name="T82" fmla="*/ 344 w 373"/>
                  <a:gd name="T83" fmla="*/ 19 h 217"/>
                  <a:gd name="T84" fmla="*/ 342 w 373"/>
                  <a:gd name="T85" fmla="*/ 12 h 217"/>
                  <a:gd name="T86" fmla="*/ 331 w 373"/>
                  <a:gd name="T87" fmla="*/ 7 h 217"/>
                  <a:gd name="T88" fmla="*/ 314 w 373"/>
                  <a:gd name="T89" fmla="*/ 3 h 217"/>
                  <a:gd name="T90" fmla="*/ 295 w 373"/>
                  <a:gd name="T91" fmla="*/ 2 h 217"/>
                  <a:gd name="T92" fmla="*/ 275 w 373"/>
                  <a:gd name="T93" fmla="*/ 0 h 217"/>
                  <a:gd name="T94" fmla="*/ 256 w 373"/>
                  <a:gd name="T95" fmla="*/ 0 h 217"/>
                  <a:gd name="T96" fmla="*/ 243 w 373"/>
                  <a:gd name="T97" fmla="*/ 0 h 217"/>
                  <a:gd name="T98" fmla="*/ 237 w 373"/>
                  <a:gd name="T99" fmla="*/ 0 h 2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73" h="217">
                    <a:moveTo>
                      <a:pt x="47" y="0"/>
                    </a:moveTo>
                    <a:lnTo>
                      <a:pt x="0" y="216"/>
                    </a:lnTo>
                    <a:lnTo>
                      <a:pt x="2" y="215"/>
                    </a:lnTo>
                    <a:lnTo>
                      <a:pt x="6" y="213"/>
                    </a:lnTo>
                    <a:lnTo>
                      <a:pt x="14" y="209"/>
                    </a:lnTo>
                    <a:lnTo>
                      <a:pt x="23" y="205"/>
                    </a:lnTo>
                    <a:lnTo>
                      <a:pt x="34" y="200"/>
                    </a:lnTo>
                    <a:lnTo>
                      <a:pt x="46" y="194"/>
                    </a:lnTo>
                    <a:lnTo>
                      <a:pt x="60" y="187"/>
                    </a:lnTo>
                    <a:lnTo>
                      <a:pt x="74" y="180"/>
                    </a:lnTo>
                    <a:lnTo>
                      <a:pt x="88" y="173"/>
                    </a:lnTo>
                    <a:lnTo>
                      <a:pt x="102" y="167"/>
                    </a:lnTo>
                    <a:lnTo>
                      <a:pt x="116" y="160"/>
                    </a:lnTo>
                    <a:lnTo>
                      <a:pt x="128" y="154"/>
                    </a:lnTo>
                    <a:lnTo>
                      <a:pt x="140" y="148"/>
                    </a:lnTo>
                    <a:lnTo>
                      <a:pt x="149" y="144"/>
                    </a:lnTo>
                    <a:lnTo>
                      <a:pt x="156" y="140"/>
                    </a:lnTo>
                    <a:lnTo>
                      <a:pt x="161" y="138"/>
                    </a:lnTo>
                    <a:lnTo>
                      <a:pt x="168" y="135"/>
                    </a:lnTo>
                    <a:lnTo>
                      <a:pt x="175" y="131"/>
                    </a:lnTo>
                    <a:lnTo>
                      <a:pt x="182" y="127"/>
                    </a:lnTo>
                    <a:lnTo>
                      <a:pt x="190" y="124"/>
                    </a:lnTo>
                    <a:lnTo>
                      <a:pt x="198" y="120"/>
                    </a:lnTo>
                    <a:lnTo>
                      <a:pt x="206" y="116"/>
                    </a:lnTo>
                    <a:lnTo>
                      <a:pt x="214" y="112"/>
                    </a:lnTo>
                    <a:lnTo>
                      <a:pt x="223" y="109"/>
                    </a:lnTo>
                    <a:lnTo>
                      <a:pt x="231" y="105"/>
                    </a:lnTo>
                    <a:lnTo>
                      <a:pt x="240" y="101"/>
                    </a:lnTo>
                    <a:lnTo>
                      <a:pt x="248" y="97"/>
                    </a:lnTo>
                    <a:lnTo>
                      <a:pt x="257" y="94"/>
                    </a:lnTo>
                    <a:lnTo>
                      <a:pt x="266" y="90"/>
                    </a:lnTo>
                    <a:lnTo>
                      <a:pt x="275" y="87"/>
                    </a:lnTo>
                    <a:lnTo>
                      <a:pt x="284" y="84"/>
                    </a:lnTo>
                    <a:lnTo>
                      <a:pt x="292" y="81"/>
                    </a:lnTo>
                    <a:lnTo>
                      <a:pt x="294" y="80"/>
                    </a:lnTo>
                    <a:lnTo>
                      <a:pt x="297" y="79"/>
                    </a:lnTo>
                    <a:lnTo>
                      <a:pt x="300" y="79"/>
                    </a:lnTo>
                    <a:lnTo>
                      <a:pt x="304" y="77"/>
                    </a:lnTo>
                    <a:lnTo>
                      <a:pt x="308" y="76"/>
                    </a:lnTo>
                    <a:lnTo>
                      <a:pt x="312" y="75"/>
                    </a:lnTo>
                    <a:lnTo>
                      <a:pt x="316" y="74"/>
                    </a:lnTo>
                    <a:lnTo>
                      <a:pt x="321" y="72"/>
                    </a:lnTo>
                    <a:lnTo>
                      <a:pt x="326" y="71"/>
                    </a:lnTo>
                    <a:lnTo>
                      <a:pt x="331" y="69"/>
                    </a:lnTo>
                    <a:lnTo>
                      <a:pt x="336" y="68"/>
                    </a:lnTo>
                    <a:lnTo>
                      <a:pt x="341" y="67"/>
                    </a:lnTo>
                    <a:lnTo>
                      <a:pt x="346" y="66"/>
                    </a:lnTo>
                    <a:lnTo>
                      <a:pt x="351" y="64"/>
                    </a:lnTo>
                    <a:lnTo>
                      <a:pt x="356" y="64"/>
                    </a:lnTo>
                    <a:lnTo>
                      <a:pt x="360" y="63"/>
                    </a:lnTo>
                    <a:lnTo>
                      <a:pt x="363" y="62"/>
                    </a:lnTo>
                    <a:lnTo>
                      <a:pt x="365" y="62"/>
                    </a:lnTo>
                    <a:lnTo>
                      <a:pt x="368" y="61"/>
                    </a:lnTo>
                    <a:lnTo>
                      <a:pt x="369" y="61"/>
                    </a:lnTo>
                    <a:lnTo>
                      <a:pt x="371" y="60"/>
                    </a:lnTo>
                    <a:lnTo>
                      <a:pt x="371" y="59"/>
                    </a:lnTo>
                    <a:lnTo>
                      <a:pt x="372" y="59"/>
                    </a:lnTo>
                    <a:lnTo>
                      <a:pt x="372" y="58"/>
                    </a:lnTo>
                    <a:lnTo>
                      <a:pt x="371" y="57"/>
                    </a:lnTo>
                    <a:lnTo>
                      <a:pt x="370" y="56"/>
                    </a:lnTo>
                    <a:lnTo>
                      <a:pt x="368" y="55"/>
                    </a:lnTo>
                    <a:lnTo>
                      <a:pt x="365" y="55"/>
                    </a:lnTo>
                    <a:lnTo>
                      <a:pt x="362" y="54"/>
                    </a:lnTo>
                    <a:lnTo>
                      <a:pt x="358" y="54"/>
                    </a:lnTo>
                    <a:lnTo>
                      <a:pt x="354" y="54"/>
                    </a:lnTo>
                    <a:lnTo>
                      <a:pt x="349" y="54"/>
                    </a:lnTo>
                    <a:lnTo>
                      <a:pt x="340" y="55"/>
                    </a:lnTo>
                    <a:lnTo>
                      <a:pt x="330" y="56"/>
                    </a:lnTo>
                    <a:lnTo>
                      <a:pt x="321" y="58"/>
                    </a:lnTo>
                    <a:lnTo>
                      <a:pt x="310" y="61"/>
                    </a:lnTo>
                    <a:lnTo>
                      <a:pt x="299" y="64"/>
                    </a:lnTo>
                    <a:lnTo>
                      <a:pt x="288" y="67"/>
                    </a:lnTo>
                    <a:lnTo>
                      <a:pt x="276" y="70"/>
                    </a:lnTo>
                    <a:lnTo>
                      <a:pt x="266" y="74"/>
                    </a:lnTo>
                    <a:lnTo>
                      <a:pt x="254" y="78"/>
                    </a:lnTo>
                    <a:lnTo>
                      <a:pt x="244" y="82"/>
                    </a:lnTo>
                    <a:lnTo>
                      <a:pt x="234" y="86"/>
                    </a:lnTo>
                    <a:lnTo>
                      <a:pt x="224" y="90"/>
                    </a:lnTo>
                    <a:lnTo>
                      <a:pt x="216" y="93"/>
                    </a:lnTo>
                    <a:lnTo>
                      <a:pt x="208" y="96"/>
                    </a:lnTo>
                    <a:lnTo>
                      <a:pt x="202" y="99"/>
                    </a:lnTo>
                    <a:lnTo>
                      <a:pt x="197" y="102"/>
                    </a:lnTo>
                    <a:lnTo>
                      <a:pt x="169" y="19"/>
                    </a:lnTo>
                    <a:lnTo>
                      <a:pt x="344" y="19"/>
                    </a:lnTo>
                    <a:lnTo>
                      <a:pt x="344" y="15"/>
                    </a:lnTo>
                    <a:lnTo>
                      <a:pt x="342" y="12"/>
                    </a:lnTo>
                    <a:lnTo>
                      <a:pt x="337" y="9"/>
                    </a:lnTo>
                    <a:lnTo>
                      <a:pt x="331" y="7"/>
                    </a:lnTo>
                    <a:lnTo>
                      <a:pt x="323" y="5"/>
                    </a:lnTo>
                    <a:lnTo>
                      <a:pt x="314" y="3"/>
                    </a:lnTo>
                    <a:lnTo>
                      <a:pt x="305" y="3"/>
                    </a:lnTo>
                    <a:lnTo>
                      <a:pt x="295" y="2"/>
                    </a:lnTo>
                    <a:lnTo>
                      <a:pt x="285" y="1"/>
                    </a:lnTo>
                    <a:lnTo>
                      <a:pt x="275" y="0"/>
                    </a:lnTo>
                    <a:lnTo>
                      <a:pt x="265" y="0"/>
                    </a:lnTo>
                    <a:lnTo>
                      <a:pt x="256" y="0"/>
                    </a:lnTo>
                    <a:lnTo>
                      <a:pt x="249" y="0"/>
                    </a:lnTo>
                    <a:lnTo>
                      <a:pt x="243" y="0"/>
                    </a:lnTo>
                    <a:lnTo>
                      <a:pt x="239" y="0"/>
                    </a:lnTo>
                    <a:lnTo>
                      <a:pt x="237" y="0"/>
                    </a:lnTo>
                    <a:lnTo>
                      <a:pt x="47" y="0"/>
                    </a:lnTo>
                  </a:path>
                </a:pathLst>
              </a:custGeom>
              <a:solidFill>
                <a:srgbClr val="214B90"/>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4" name="Freeform 13"/>
              <p:cNvSpPr>
                <a:spLocks/>
              </p:cNvSpPr>
              <p:nvPr/>
            </p:nvSpPr>
            <p:spPr bwMode="auto">
              <a:xfrm>
                <a:off x="945" y="398"/>
                <a:ext cx="112" cy="108"/>
              </a:xfrm>
              <a:custGeom>
                <a:avLst/>
                <a:gdLst>
                  <a:gd name="T0" fmla="*/ 31 w 113"/>
                  <a:gd name="T1" fmla="*/ 138 h 107"/>
                  <a:gd name="T2" fmla="*/ 15 w 113"/>
                  <a:gd name="T3" fmla="*/ 134 h 107"/>
                  <a:gd name="T4" fmla="*/ 4 w 113"/>
                  <a:gd name="T5" fmla="*/ 125 h 107"/>
                  <a:gd name="T6" fmla="*/ 0 w 113"/>
                  <a:gd name="T7" fmla="*/ 111 h 107"/>
                  <a:gd name="T8" fmla="*/ 3 w 113"/>
                  <a:gd name="T9" fmla="*/ 95 h 107"/>
                  <a:gd name="T10" fmla="*/ 6 w 113"/>
                  <a:gd name="T11" fmla="*/ 48 h 107"/>
                  <a:gd name="T12" fmla="*/ 9 w 113"/>
                  <a:gd name="T13" fmla="*/ 35 h 107"/>
                  <a:gd name="T14" fmla="*/ 11 w 113"/>
                  <a:gd name="T15" fmla="*/ 24 h 107"/>
                  <a:gd name="T16" fmla="*/ 13 w 113"/>
                  <a:gd name="T17" fmla="*/ 15 h 107"/>
                  <a:gd name="T18" fmla="*/ 15 w 113"/>
                  <a:gd name="T19" fmla="*/ 8 h 107"/>
                  <a:gd name="T20" fmla="*/ 16 w 113"/>
                  <a:gd name="T21" fmla="*/ 3 h 107"/>
                  <a:gd name="T22" fmla="*/ 17 w 113"/>
                  <a:gd name="T23" fmla="*/ 0 h 107"/>
                  <a:gd name="T24" fmla="*/ 40 w 113"/>
                  <a:gd name="T25" fmla="*/ 0 h 107"/>
                  <a:gd name="T26" fmla="*/ 40 w 113"/>
                  <a:gd name="T27" fmla="*/ 3 h 107"/>
                  <a:gd name="T28" fmla="*/ 38 w 113"/>
                  <a:gd name="T29" fmla="*/ 10 h 107"/>
                  <a:gd name="T30" fmla="*/ 36 w 113"/>
                  <a:gd name="T31" fmla="*/ 20 h 107"/>
                  <a:gd name="T32" fmla="*/ 33 w 113"/>
                  <a:gd name="T33" fmla="*/ 33 h 107"/>
                  <a:gd name="T34" fmla="*/ 30 w 113"/>
                  <a:gd name="T35" fmla="*/ 44 h 107"/>
                  <a:gd name="T36" fmla="*/ 28 w 113"/>
                  <a:gd name="T37" fmla="*/ 86 h 107"/>
                  <a:gd name="T38" fmla="*/ 27 w 113"/>
                  <a:gd name="T39" fmla="*/ 94 h 107"/>
                  <a:gd name="T40" fmla="*/ 26 w 113"/>
                  <a:gd name="T41" fmla="*/ 96 h 107"/>
                  <a:gd name="T42" fmla="*/ 25 w 113"/>
                  <a:gd name="T43" fmla="*/ 106 h 107"/>
                  <a:gd name="T44" fmla="*/ 27 w 113"/>
                  <a:gd name="T45" fmla="*/ 115 h 107"/>
                  <a:gd name="T46" fmla="*/ 34 w 113"/>
                  <a:gd name="T47" fmla="*/ 120 h 107"/>
                  <a:gd name="T48" fmla="*/ 44 w 113"/>
                  <a:gd name="T49" fmla="*/ 121 h 107"/>
                  <a:gd name="T50" fmla="*/ 56 w 113"/>
                  <a:gd name="T51" fmla="*/ 120 h 107"/>
                  <a:gd name="T52" fmla="*/ 56 w 113"/>
                  <a:gd name="T53" fmla="*/ 115 h 107"/>
                  <a:gd name="T54" fmla="*/ 56 w 113"/>
                  <a:gd name="T55" fmla="*/ 106 h 107"/>
                  <a:gd name="T56" fmla="*/ 56 w 113"/>
                  <a:gd name="T57" fmla="*/ 96 h 107"/>
                  <a:gd name="T58" fmla="*/ 56 w 113"/>
                  <a:gd name="T59" fmla="*/ 90 h 107"/>
                  <a:gd name="T60" fmla="*/ 56 w 113"/>
                  <a:gd name="T61" fmla="*/ 50 h 107"/>
                  <a:gd name="T62" fmla="*/ 56 w 113"/>
                  <a:gd name="T63" fmla="*/ 39 h 107"/>
                  <a:gd name="T64" fmla="*/ 56 w 113"/>
                  <a:gd name="T65" fmla="*/ 28 h 107"/>
                  <a:gd name="T66" fmla="*/ 56 w 113"/>
                  <a:gd name="T67" fmla="*/ 18 h 107"/>
                  <a:gd name="T68" fmla="*/ 56 w 113"/>
                  <a:gd name="T69" fmla="*/ 9 h 107"/>
                  <a:gd name="T70" fmla="*/ 56 w 113"/>
                  <a:gd name="T71" fmla="*/ 2 h 107"/>
                  <a:gd name="T72" fmla="*/ 57 w 113"/>
                  <a:gd name="T73" fmla="*/ 0 h 107"/>
                  <a:gd name="T74" fmla="*/ 77 w 113"/>
                  <a:gd name="T75" fmla="*/ 12 h 107"/>
                  <a:gd name="T76" fmla="*/ 74 w 113"/>
                  <a:gd name="T77" fmla="*/ 27 h 107"/>
                  <a:gd name="T78" fmla="*/ 73 w 113"/>
                  <a:gd name="T79" fmla="*/ 33 h 107"/>
                  <a:gd name="T80" fmla="*/ 72 w 113"/>
                  <a:gd name="T81" fmla="*/ 35 h 107"/>
                  <a:gd name="T82" fmla="*/ 72 w 113"/>
                  <a:gd name="T83" fmla="*/ 37 h 107"/>
                  <a:gd name="T84" fmla="*/ 70 w 113"/>
                  <a:gd name="T85" fmla="*/ 44 h 107"/>
                  <a:gd name="T86" fmla="*/ 67 w 113"/>
                  <a:gd name="T87" fmla="*/ 91 h 107"/>
                  <a:gd name="T88" fmla="*/ 63 w 113"/>
                  <a:gd name="T89" fmla="*/ 107 h 107"/>
                  <a:gd name="T90" fmla="*/ 60 w 113"/>
                  <a:gd name="T91" fmla="*/ 115 h 107"/>
                  <a:gd name="T92" fmla="*/ 56 w 113"/>
                  <a:gd name="T93" fmla="*/ 122 h 107"/>
                  <a:gd name="T94" fmla="*/ 56 w 113"/>
                  <a:gd name="T95" fmla="*/ 127 h 107"/>
                  <a:gd name="T96" fmla="*/ 56 w 113"/>
                  <a:gd name="T97" fmla="*/ 131 h 107"/>
                  <a:gd name="T98" fmla="*/ 56 w 113"/>
                  <a:gd name="T99" fmla="*/ 135 h 107"/>
                  <a:gd name="T100" fmla="*/ 56 w 113"/>
                  <a:gd name="T101" fmla="*/ 137 h 107"/>
                  <a:gd name="T102" fmla="*/ 46 w 113"/>
                  <a:gd name="T103" fmla="*/ 138 h 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3" h="107">
                    <a:moveTo>
                      <a:pt x="41" y="106"/>
                    </a:moveTo>
                    <a:lnTo>
                      <a:pt x="31" y="106"/>
                    </a:lnTo>
                    <a:lnTo>
                      <a:pt x="22" y="104"/>
                    </a:lnTo>
                    <a:lnTo>
                      <a:pt x="15" y="102"/>
                    </a:lnTo>
                    <a:lnTo>
                      <a:pt x="8" y="98"/>
                    </a:lnTo>
                    <a:lnTo>
                      <a:pt x="4" y="93"/>
                    </a:lnTo>
                    <a:lnTo>
                      <a:pt x="1" y="87"/>
                    </a:lnTo>
                    <a:lnTo>
                      <a:pt x="0" y="79"/>
                    </a:lnTo>
                    <a:lnTo>
                      <a:pt x="1" y="70"/>
                    </a:lnTo>
                    <a:lnTo>
                      <a:pt x="3" y="63"/>
                    </a:lnTo>
                    <a:lnTo>
                      <a:pt x="5" y="55"/>
                    </a:lnTo>
                    <a:lnTo>
                      <a:pt x="6" y="48"/>
                    </a:lnTo>
                    <a:lnTo>
                      <a:pt x="7" y="42"/>
                    </a:lnTo>
                    <a:lnTo>
                      <a:pt x="9" y="35"/>
                    </a:lnTo>
                    <a:lnTo>
                      <a:pt x="10" y="30"/>
                    </a:lnTo>
                    <a:lnTo>
                      <a:pt x="11" y="24"/>
                    </a:lnTo>
                    <a:lnTo>
                      <a:pt x="12" y="19"/>
                    </a:lnTo>
                    <a:lnTo>
                      <a:pt x="13" y="15"/>
                    </a:lnTo>
                    <a:lnTo>
                      <a:pt x="14" y="11"/>
                    </a:lnTo>
                    <a:lnTo>
                      <a:pt x="15" y="8"/>
                    </a:lnTo>
                    <a:lnTo>
                      <a:pt x="16" y="5"/>
                    </a:lnTo>
                    <a:lnTo>
                      <a:pt x="16" y="3"/>
                    </a:lnTo>
                    <a:lnTo>
                      <a:pt x="17" y="2"/>
                    </a:lnTo>
                    <a:lnTo>
                      <a:pt x="17" y="0"/>
                    </a:lnTo>
                    <a:lnTo>
                      <a:pt x="40" y="0"/>
                    </a:lnTo>
                    <a:lnTo>
                      <a:pt x="40" y="1"/>
                    </a:lnTo>
                    <a:lnTo>
                      <a:pt x="40" y="3"/>
                    </a:lnTo>
                    <a:lnTo>
                      <a:pt x="39" y="6"/>
                    </a:lnTo>
                    <a:lnTo>
                      <a:pt x="38" y="10"/>
                    </a:lnTo>
                    <a:lnTo>
                      <a:pt x="37" y="15"/>
                    </a:lnTo>
                    <a:lnTo>
                      <a:pt x="36" y="20"/>
                    </a:lnTo>
                    <a:lnTo>
                      <a:pt x="35" y="27"/>
                    </a:lnTo>
                    <a:lnTo>
                      <a:pt x="33" y="33"/>
                    </a:lnTo>
                    <a:lnTo>
                      <a:pt x="32" y="38"/>
                    </a:lnTo>
                    <a:lnTo>
                      <a:pt x="30" y="44"/>
                    </a:lnTo>
                    <a:lnTo>
                      <a:pt x="29" y="50"/>
                    </a:lnTo>
                    <a:lnTo>
                      <a:pt x="28" y="54"/>
                    </a:lnTo>
                    <a:lnTo>
                      <a:pt x="27" y="58"/>
                    </a:lnTo>
                    <a:lnTo>
                      <a:pt x="27" y="62"/>
                    </a:lnTo>
                    <a:lnTo>
                      <a:pt x="26" y="63"/>
                    </a:lnTo>
                    <a:lnTo>
                      <a:pt x="26" y="64"/>
                    </a:lnTo>
                    <a:lnTo>
                      <a:pt x="25" y="69"/>
                    </a:lnTo>
                    <a:lnTo>
                      <a:pt x="25" y="74"/>
                    </a:lnTo>
                    <a:lnTo>
                      <a:pt x="26" y="79"/>
                    </a:lnTo>
                    <a:lnTo>
                      <a:pt x="27" y="83"/>
                    </a:lnTo>
                    <a:lnTo>
                      <a:pt x="30" y="86"/>
                    </a:lnTo>
                    <a:lnTo>
                      <a:pt x="34" y="88"/>
                    </a:lnTo>
                    <a:lnTo>
                      <a:pt x="38" y="89"/>
                    </a:lnTo>
                    <a:lnTo>
                      <a:pt x="44" y="89"/>
                    </a:lnTo>
                    <a:lnTo>
                      <a:pt x="51" y="89"/>
                    </a:lnTo>
                    <a:lnTo>
                      <a:pt x="56" y="88"/>
                    </a:lnTo>
                    <a:lnTo>
                      <a:pt x="61" y="86"/>
                    </a:lnTo>
                    <a:lnTo>
                      <a:pt x="65" y="83"/>
                    </a:lnTo>
                    <a:lnTo>
                      <a:pt x="68" y="79"/>
                    </a:lnTo>
                    <a:lnTo>
                      <a:pt x="71" y="74"/>
                    </a:lnTo>
                    <a:lnTo>
                      <a:pt x="73" y="69"/>
                    </a:lnTo>
                    <a:lnTo>
                      <a:pt x="74" y="64"/>
                    </a:lnTo>
                    <a:lnTo>
                      <a:pt x="75" y="62"/>
                    </a:lnTo>
                    <a:lnTo>
                      <a:pt x="76" y="58"/>
                    </a:lnTo>
                    <a:lnTo>
                      <a:pt x="76" y="54"/>
                    </a:lnTo>
                    <a:lnTo>
                      <a:pt x="78" y="50"/>
                    </a:lnTo>
                    <a:lnTo>
                      <a:pt x="78" y="45"/>
                    </a:lnTo>
                    <a:lnTo>
                      <a:pt x="80" y="39"/>
                    </a:lnTo>
                    <a:lnTo>
                      <a:pt x="81" y="34"/>
                    </a:lnTo>
                    <a:lnTo>
                      <a:pt x="82" y="28"/>
                    </a:lnTo>
                    <a:lnTo>
                      <a:pt x="83" y="23"/>
                    </a:lnTo>
                    <a:lnTo>
                      <a:pt x="84" y="18"/>
                    </a:lnTo>
                    <a:lnTo>
                      <a:pt x="86" y="13"/>
                    </a:lnTo>
                    <a:lnTo>
                      <a:pt x="87" y="9"/>
                    </a:lnTo>
                    <a:lnTo>
                      <a:pt x="87" y="5"/>
                    </a:lnTo>
                    <a:lnTo>
                      <a:pt x="88" y="2"/>
                    </a:lnTo>
                    <a:lnTo>
                      <a:pt x="89" y="0"/>
                    </a:lnTo>
                    <a:lnTo>
                      <a:pt x="112" y="0"/>
                    </a:lnTo>
                    <a:lnTo>
                      <a:pt x="109" y="12"/>
                    </a:lnTo>
                    <a:lnTo>
                      <a:pt x="107" y="20"/>
                    </a:lnTo>
                    <a:lnTo>
                      <a:pt x="106" y="27"/>
                    </a:lnTo>
                    <a:lnTo>
                      <a:pt x="105" y="31"/>
                    </a:lnTo>
                    <a:lnTo>
                      <a:pt x="105" y="33"/>
                    </a:lnTo>
                    <a:lnTo>
                      <a:pt x="104" y="35"/>
                    </a:lnTo>
                    <a:lnTo>
                      <a:pt x="104" y="36"/>
                    </a:lnTo>
                    <a:lnTo>
                      <a:pt x="104" y="37"/>
                    </a:lnTo>
                    <a:lnTo>
                      <a:pt x="103" y="40"/>
                    </a:lnTo>
                    <a:lnTo>
                      <a:pt x="102" y="44"/>
                    </a:lnTo>
                    <a:lnTo>
                      <a:pt x="101" y="50"/>
                    </a:lnTo>
                    <a:lnTo>
                      <a:pt x="99" y="59"/>
                    </a:lnTo>
                    <a:lnTo>
                      <a:pt x="97" y="70"/>
                    </a:lnTo>
                    <a:lnTo>
                      <a:pt x="95" y="75"/>
                    </a:lnTo>
                    <a:lnTo>
                      <a:pt x="94" y="79"/>
                    </a:lnTo>
                    <a:lnTo>
                      <a:pt x="92" y="83"/>
                    </a:lnTo>
                    <a:lnTo>
                      <a:pt x="90" y="87"/>
                    </a:lnTo>
                    <a:lnTo>
                      <a:pt x="87" y="90"/>
                    </a:lnTo>
                    <a:lnTo>
                      <a:pt x="84" y="93"/>
                    </a:lnTo>
                    <a:lnTo>
                      <a:pt x="81" y="95"/>
                    </a:lnTo>
                    <a:lnTo>
                      <a:pt x="77" y="98"/>
                    </a:lnTo>
                    <a:lnTo>
                      <a:pt x="74" y="99"/>
                    </a:lnTo>
                    <a:lnTo>
                      <a:pt x="70" y="102"/>
                    </a:lnTo>
                    <a:lnTo>
                      <a:pt x="65" y="103"/>
                    </a:lnTo>
                    <a:lnTo>
                      <a:pt x="61" y="104"/>
                    </a:lnTo>
                    <a:lnTo>
                      <a:pt x="56" y="105"/>
                    </a:lnTo>
                    <a:lnTo>
                      <a:pt x="52" y="106"/>
                    </a:lnTo>
                    <a:lnTo>
                      <a:pt x="46" y="106"/>
                    </a:lnTo>
                    <a:lnTo>
                      <a:pt x="41" y="106"/>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5" name="Freeform 14"/>
              <p:cNvSpPr>
                <a:spLocks/>
              </p:cNvSpPr>
              <p:nvPr/>
            </p:nvSpPr>
            <p:spPr bwMode="auto">
              <a:xfrm>
                <a:off x="1057" y="398"/>
                <a:ext cx="119" cy="108"/>
              </a:xfrm>
              <a:custGeom>
                <a:avLst/>
                <a:gdLst>
                  <a:gd name="T0" fmla="*/ 126 w 118"/>
                  <a:gd name="T1" fmla="*/ 187 h 106"/>
                  <a:gd name="T2" fmla="*/ 97 w 118"/>
                  <a:gd name="T3" fmla="*/ 187 h 106"/>
                  <a:gd name="T4" fmla="*/ 38 w 118"/>
                  <a:gd name="T5" fmla="*/ 59 h 106"/>
                  <a:gd name="T6" fmla="*/ 38 w 118"/>
                  <a:gd name="T7" fmla="*/ 59 h 106"/>
                  <a:gd name="T8" fmla="*/ 21 w 118"/>
                  <a:gd name="T9" fmla="*/ 187 h 106"/>
                  <a:gd name="T10" fmla="*/ 0 w 118"/>
                  <a:gd name="T11" fmla="*/ 187 h 106"/>
                  <a:gd name="T12" fmla="*/ 23 w 118"/>
                  <a:gd name="T13" fmla="*/ 0 h 106"/>
                  <a:gd name="T14" fmla="*/ 53 w 118"/>
                  <a:gd name="T15" fmla="*/ 0 h 106"/>
                  <a:gd name="T16" fmla="*/ 111 w 118"/>
                  <a:gd name="T17" fmla="*/ 146 h 106"/>
                  <a:gd name="T18" fmla="*/ 111 w 118"/>
                  <a:gd name="T19" fmla="*/ 146 h 106"/>
                  <a:gd name="T20" fmla="*/ 128 w 118"/>
                  <a:gd name="T21" fmla="*/ 0 h 106"/>
                  <a:gd name="T22" fmla="*/ 149 w 118"/>
                  <a:gd name="T23" fmla="*/ 0 h 106"/>
                  <a:gd name="T24" fmla="*/ 126 w 118"/>
                  <a:gd name="T25" fmla="*/ 18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8" h="106">
                    <a:moveTo>
                      <a:pt x="94" y="105"/>
                    </a:moveTo>
                    <a:lnTo>
                      <a:pt x="65" y="105"/>
                    </a:lnTo>
                    <a:lnTo>
                      <a:pt x="38" y="27"/>
                    </a:lnTo>
                    <a:lnTo>
                      <a:pt x="21" y="105"/>
                    </a:lnTo>
                    <a:lnTo>
                      <a:pt x="0" y="105"/>
                    </a:lnTo>
                    <a:lnTo>
                      <a:pt x="23" y="0"/>
                    </a:lnTo>
                    <a:lnTo>
                      <a:pt x="53" y="0"/>
                    </a:lnTo>
                    <a:lnTo>
                      <a:pt x="79" y="79"/>
                    </a:lnTo>
                    <a:lnTo>
                      <a:pt x="96" y="0"/>
                    </a:lnTo>
                    <a:lnTo>
                      <a:pt x="117" y="0"/>
                    </a:lnTo>
                    <a:lnTo>
                      <a:pt x="94"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6" name="Freeform 15"/>
              <p:cNvSpPr>
                <a:spLocks/>
              </p:cNvSpPr>
              <p:nvPr/>
            </p:nvSpPr>
            <p:spPr bwMode="auto">
              <a:xfrm>
                <a:off x="1176" y="398"/>
                <a:ext cx="46" cy="108"/>
              </a:xfrm>
              <a:custGeom>
                <a:avLst/>
                <a:gdLst>
                  <a:gd name="T0" fmla="*/ 23 w 46"/>
                  <a:gd name="T1" fmla="*/ 187 h 106"/>
                  <a:gd name="T2" fmla="*/ 0 w 46"/>
                  <a:gd name="T3" fmla="*/ 187 h 106"/>
                  <a:gd name="T4" fmla="*/ 22 w 46"/>
                  <a:gd name="T5" fmla="*/ 0 h 106"/>
                  <a:gd name="T6" fmla="*/ 45 w 46"/>
                  <a:gd name="T7" fmla="*/ 0 h 106"/>
                  <a:gd name="T8" fmla="*/ 23 w 46"/>
                  <a:gd name="T9" fmla="*/ 187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06">
                    <a:moveTo>
                      <a:pt x="23" y="105"/>
                    </a:moveTo>
                    <a:lnTo>
                      <a:pt x="0" y="105"/>
                    </a:lnTo>
                    <a:lnTo>
                      <a:pt x="22" y="0"/>
                    </a:lnTo>
                    <a:lnTo>
                      <a:pt x="45" y="0"/>
                    </a:lnTo>
                    <a:lnTo>
                      <a:pt x="23"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7" name="Freeform 16"/>
              <p:cNvSpPr>
                <a:spLocks/>
              </p:cNvSpPr>
              <p:nvPr/>
            </p:nvSpPr>
            <p:spPr bwMode="auto">
              <a:xfrm>
                <a:off x="1235" y="398"/>
                <a:ext cx="91" cy="108"/>
              </a:xfrm>
              <a:custGeom>
                <a:avLst/>
                <a:gdLst>
                  <a:gd name="T0" fmla="*/ 87 w 91"/>
                  <a:gd name="T1" fmla="*/ 17 h 106"/>
                  <a:gd name="T2" fmla="*/ 54 w 91"/>
                  <a:gd name="T3" fmla="*/ 17 h 106"/>
                  <a:gd name="T4" fmla="*/ 36 w 91"/>
                  <a:gd name="T5" fmla="*/ 187 h 106"/>
                  <a:gd name="T6" fmla="*/ 13 w 91"/>
                  <a:gd name="T7" fmla="*/ 187 h 106"/>
                  <a:gd name="T8" fmla="*/ 32 w 91"/>
                  <a:gd name="T9" fmla="*/ 17 h 106"/>
                  <a:gd name="T10" fmla="*/ 0 w 91"/>
                  <a:gd name="T11" fmla="*/ 17 h 106"/>
                  <a:gd name="T12" fmla="*/ 4 w 91"/>
                  <a:gd name="T13" fmla="*/ 0 h 106"/>
                  <a:gd name="T14" fmla="*/ 90 w 91"/>
                  <a:gd name="T15" fmla="*/ 0 h 106"/>
                  <a:gd name="T16" fmla="*/ 87 w 91"/>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1" h="106">
                    <a:moveTo>
                      <a:pt x="87" y="17"/>
                    </a:moveTo>
                    <a:lnTo>
                      <a:pt x="54" y="17"/>
                    </a:lnTo>
                    <a:lnTo>
                      <a:pt x="36" y="105"/>
                    </a:lnTo>
                    <a:lnTo>
                      <a:pt x="13" y="105"/>
                    </a:lnTo>
                    <a:lnTo>
                      <a:pt x="32" y="17"/>
                    </a:lnTo>
                    <a:lnTo>
                      <a:pt x="0" y="17"/>
                    </a:lnTo>
                    <a:lnTo>
                      <a:pt x="4" y="0"/>
                    </a:lnTo>
                    <a:lnTo>
                      <a:pt x="90" y="0"/>
                    </a:lnTo>
                    <a:lnTo>
                      <a:pt x="8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8" name="Freeform 17"/>
              <p:cNvSpPr>
                <a:spLocks/>
              </p:cNvSpPr>
              <p:nvPr/>
            </p:nvSpPr>
            <p:spPr bwMode="auto">
              <a:xfrm>
                <a:off x="1322" y="398"/>
                <a:ext cx="101" cy="108"/>
              </a:xfrm>
              <a:custGeom>
                <a:avLst/>
                <a:gdLst>
                  <a:gd name="T0" fmla="*/ 65 w 102"/>
                  <a:gd name="T1" fmla="*/ 17 h 106"/>
                  <a:gd name="T2" fmla="*/ 43 w 102"/>
                  <a:gd name="T3" fmla="*/ 17 h 106"/>
                  <a:gd name="T4" fmla="*/ 37 w 102"/>
                  <a:gd name="T5" fmla="*/ 76 h 106"/>
                  <a:gd name="T6" fmla="*/ 52 w 102"/>
                  <a:gd name="T7" fmla="*/ 76 h 106"/>
                  <a:gd name="T8" fmla="*/ 51 w 102"/>
                  <a:gd name="T9" fmla="*/ 102 h 106"/>
                  <a:gd name="T10" fmla="*/ 34 w 102"/>
                  <a:gd name="T11" fmla="*/ 102 h 106"/>
                  <a:gd name="T12" fmla="*/ 27 w 102"/>
                  <a:gd name="T13" fmla="*/ 161 h 106"/>
                  <a:gd name="T14" fmla="*/ 51 w 102"/>
                  <a:gd name="T15" fmla="*/ 161 h 106"/>
                  <a:gd name="T16" fmla="*/ 51 w 102"/>
                  <a:gd name="T17" fmla="*/ 187 h 106"/>
                  <a:gd name="T18" fmla="*/ 0 w 102"/>
                  <a:gd name="T19" fmla="*/ 187 h 106"/>
                  <a:gd name="T20" fmla="*/ 23 w 102"/>
                  <a:gd name="T21" fmla="*/ 0 h 106"/>
                  <a:gd name="T22" fmla="*/ 69 w 102"/>
                  <a:gd name="T23" fmla="*/ 0 h 106"/>
                  <a:gd name="T24" fmla="*/ 65 w 102"/>
                  <a:gd name="T25" fmla="*/ 1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06">
                    <a:moveTo>
                      <a:pt x="97" y="17"/>
                    </a:moveTo>
                    <a:lnTo>
                      <a:pt x="43" y="17"/>
                    </a:lnTo>
                    <a:lnTo>
                      <a:pt x="37" y="44"/>
                    </a:lnTo>
                    <a:lnTo>
                      <a:pt x="84" y="44"/>
                    </a:lnTo>
                    <a:lnTo>
                      <a:pt x="81" y="59"/>
                    </a:lnTo>
                    <a:lnTo>
                      <a:pt x="34" y="59"/>
                    </a:lnTo>
                    <a:lnTo>
                      <a:pt x="27" y="88"/>
                    </a:lnTo>
                    <a:lnTo>
                      <a:pt x="81" y="88"/>
                    </a:lnTo>
                    <a:lnTo>
                      <a:pt x="78" y="105"/>
                    </a:lnTo>
                    <a:lnTo>
                      <a:pt x="0" y="105"/>
                    </a:lnTo>
                    <a:lnTo>
                      <a:pt x="23" y="0"/>
                    </a:lnTo>
                    <a:lnTo>
                      <a:pt x="101" y="0"/>
                    </a:lnTo>
                    <a:lnTo>
                      <a:pt x="9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19" name="Freeform 18"/>
              <p:cNvSpPr>
                <a:spLocks/>
              </p:cNvSpPr>
              <p:nvPr/>
            </p:nvSpPr>
            <p:spPr bwMode="auto">
              <a:xfrm>
                <a:off x="1428" y="398"/>
                <a:ext cx="103" cy="54"/>
              </a:xfrm>
              <a:custGeom>
                <a:avLst/>
                <a:gdLst>
                  <a:gd name="T0" fmla="*/ 0 w 103"/>
                  <a:gd name="T1" fmla="*/ 169 h 52"/>
                  <a:gd name="T2" fmla="*/ 11 w 103"/>
                  <a:gd name="T3" fmla="*/ 0 h 52"/>
                  <a:gd name="T4" fmla="*/ 63 w 103"/>
                  <a:gd name="T5" fmla="*/ 0 h 52"/>
                  <a:gd name="T6" fmla="*/ 69 w 103"/>
                  <a:gd name="T7" fmla="*/ 0 h 52"/>
                  <a:gd name="T8" fmla="*/ 74 w 103"/>
                  <a:gd name="T9" fmla="*/ 1 h 52"/>
                  <a:gd name="T10" fmla="*/ 78 w 103"/>
                  <a:gd name="T11" fmla="*/ 2 h 52"/>
                  <a:gd name="T12" fmla="*/ 83 w 103"/>
                  <a:gd name="T13" fmla="*/ 3 h 52"/>
                  <a:gd name="T14" fmla="*/ 87 w 103"/>
                  <a:gd name="T15" fmla="*/ 5 h 52"/>
                  <a:gd name="T16" fmla="*/ 90 w 103"/>
                  <a:gd name="T17" fmla="*/ 8 h 52"/>
                  <a:gd name="T18" fmla="*/ 93 w 103"/>
                  <a:gd name="T19" fmla="*/ 10 h 52"/>
                  <a:gd name="T20" fmla="*/ 96 w 103"/>
                  <a:gd name="T21" fmla="*/ 51 h 52"/>
                  <a:gd name="T22" fmla="*/ 98 w 103"/>
                  <a:gd name="T23" fmla="*/ 59 h 52"/>
                  <a:gd name="T24" fmla="*/ 100 w 103"/>
                  <a:gd name="T25" fmla="*/ 65 h 52"/>
                  <a:gd name="T26" fmla="*/ 101 w 103"/>
                  <a:gd name="T27" fmla="*/ 77 h 52"/>
                  <a:gd name="T28" fmla="*/ 102 w 103"/>
                  <a:gd name="T29" fmla="*/ 89 h 52"/>
                  <a:gd name="T30" fmla="*/ 102 w 103"/>
                  <a:gd name="T31" fmla="*/ 108 h 52"/>
                  <a:gd name="T32" fmla="*/ 102 w 103"/>
                  <a:gd name="T33" fmla="*/ 125 h 52"/>
                  <a:gd name="T34" fmla="*/ 102 w 103"/>
                  <a:gd name="T35" fmla="*/ 142 h 52"/>
                  <a:gd name="T36" fmla="*/ 101 w 103"/>
                  <a:gd name="T37" fmla="*/ 153 h 52"/>
                  <a:gd name="T38" fmla="*/ 100 w 103"/>
                  <a:gd name="T39" fmla="*/ 169 h 52"/>
                  <a:gd name="T40" fmla="*/ 77 w 103"/>
                  <a:gd name="T41" fmla="*/ 169 h 52"/>
                  <a:gd name="T42" fmla="*/ 78 w 103"/>
                  <a:gd name="T43" fmla="*/ 165 h 52"/>
                  <a:gd name="T44" fmla="*/ 78 w 103"/>
                  <a:gd name="T45" fmla="*/ 153 h 52"/>
                  <a:gd name="T46" fmla="*/ 79 w 103"/>
                  <a:gd name="T47" fmla="*/ 137 h 52"/>
                  <a:gd name="T48" fmla="*/ 79 w 103"/>
                  <a:gd name="T49" fmla="*/ 116 h 52"/>
                  <a:gd name="T50" fmla="*/ 77 w 103"/>
                  <a:gd name="T51" fmla="*/ 92 h 52"/>
                  <a:gd name="T52" fmla="*/ 75 w 103"/>
                  <a:gd name="T53" fmla="*/ 80 h 52"/>
                  <a:gd name="T54" fmla="*/ 72 w 103"/>
                  <a:gd name="T55" fmla="*/ 68 h 52"/>
                  <a:gd name="T56" fmla="*/ 67 w 103"/>
                  <a:gd name="T57" fmla="*/ 61 h 52"/>
                  <a:gd name="T58" fmla="*/ 62 w 103"/>
                  <a:gd name="T59" fmla="*/ 57 h 52"/>
                  <a:gd name="T60" fmla="*/ 55 w 103"/>
                  <a:gd name="T61" fmla="*/ 57 h 52"/>
                  <a:gd name="T62" fmla="*/ 31 w 103"/>
                  <a:gd name="T63" fmla="*/ 57 h 52"/>
                  <a:gd name="T64" fmla="*/ 24 w 103"/>
                  <a:gd name="T65" fmla="*/ 169 h 52"/>
                  <a:gd name="T66" fmla="*/ 0 w 103"/>
                  <a:gd name="T67" fmla="*/ 169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3" h="52">
                    <a:moveTo>
                      <a:pt x="0" y="51"/>
                    </a:moveTo>
                    <a:lnTo>
                      <a:pt x="11" y="0"/>
                    </a:lnTo>
                    <a:lnTo>
                      <a:pt x="63" y="0"/>
                    </a:lnTo>
                    <a:lnTo>
                      <a:pt x="69" y="0"/>
                    </a:lnTo>
                    <a:lnTo>
                      <a:pt x="74" y="1"/>
                    </a:lnTo>
                    <a:lnTo>
                      <a:pt x="78" y="2"/>
                    </a:lnTo>
                    <a:lnTo>
                      <a:pt x="83" y="3"/>
                    </a:lnTo>
                    <a:lnTo>
                      <a:pt x="87" y="5"/>
                    </a:lnTo>
                    <a:lnTo>
                      <a:pt x="90" y="8"/>
                    </a:lnTo>
                    <a:lnTo>
                      <a:pt x="93" y="10"/>
                    </a:lnTo>
                    <a:lnTo>
                      <a:pt x="96" y="13"/>
                    </a:lnTo>
                    <a:lnTo>
                      <a:pt x="98" y="17"/>
                    </a:lnTo>
                    <a:lnTo>
                      <a:pt x="100" y="20"/>
                    </a:lnTo>
                    <a:lnTo>
                      <a:pt x="101" y="24"/>
                    </a:lnTo>
                    <a:lnTo>
                      <a:pt x="102" y="28"/>
                    </a:lnTo>
                    <a:lnTo>
                      <a:pt x="102" y="33"/>
                    </a:lnTo>
                    <a:lnTo>
                      <a:pt x="102" y="37"/>
                    </a:lnTo>
                    <a:lnTo>
                      <a:pt x="102" y="42"/>
                    </a:lnTo>
                    <a:lnTo>
                      <a:pt x="101" y="46"/>
                    </a:lnTo>
                    <a:lnTo>
                      <a:pt x="100" y="51"/>
                    </a:lnTo>
                    <a:lnTo>
                      <a:pt x="77" y="51"/>
                    </a:lnTo>
                    <a:lnTo>
                      <a:pt x="78" y="50"/>
                    </a:lnTo>
                    <a:lnTo>
                      <a:pt x="78" y="46"/>
                    </a:lnTo>
                    <a:lnTo>
                      <a:pt x="79" y="40"/>
                    </a:lnTo>
                    <a:lnTo>
                      <a:pt x="79" y="35"/>
                    </a:lnTo>
                    <a:lnTo>
                      <a:pt x="77" y="29"/>
                    </a:lnTo>
                    <a:lnTo>
                      <a:pt x="75" y="25"/>
                    </a:lnTo>
                    <a:lnTo>
                      <a:pt x="72" y="21"/>
                    </a:lnTo>
                    <a:lnTo>
                      <a:pt x="67" y="18"/>
                    </a:lnTo>
                    <a:lnTo>
                      <a:pt x="62" y="16"/>
                    </a:lnTo>
                    <a:lnTo>
                      <a:pt x="55" y="16"/>
                    </a:lnTo>
                    <a:lnTo>
                      <a:pt x="31" y="16"/>
                    </a:lnTo>
                    <a:lnTo>
                      <a:pt x="24" y="51"/>
                    </a:lnTo>
                    <a:lnTo>
                      <a:pt x="0" y="51"/>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0" name="Freeform 19"/>
              <p:cNvSpPr>
                <a:spLocks/>
              </p:cNvSpPr>
              <p:nvPr/>
            </p:nvSpPr>
            <p:spPr bwMode="auto">
              <a:xfrm>
                <a:off x="1418" y="452"/>
                <a:ext cx="111" cy="54"/>
              </a:xfrm>
              <a:custGeom>
                <a:avLst/>
                <a:gdLst>
                  <a:gd name="T0" fmla="*/ 11 w 111"/>
                  <a:gd name="T1" fmla="*/ 0 h 53"/>
                  <a:gd name="T2" fmla="*/ 0 w 111"/>
                  <a:gd name="T3" fmla="*/ 88 h 53"/>
                  <a:gd name="T4" fmla="*/ 47 w 111"/>
                  <a:gd name="T5" fmla="*/ 88 h 53"/>
                  <a:gd name="T6" fmla="*/ 53 w 111"/>
                  <a:gd name="T7" fmla="*/ 86 h 53"/>
                  <a:gd name="T8" fmla="*/ 58 w 111"/>
                  <a:gd name="T9" fmla="*/ 86 h 53"/>
                  <a:gd name="T10" fmla="*/ 63 w 111"/>
                  <a:gd name="T11" fmla="*/ 84 h 53"/>
                  <a:gd name="T12" fmla="*/ 69 w 111"/>
                  <a:gd name="T13" fmla="*/ 80 h 53"/>
                  <a:gd name="T14" fmla="*/ 74 w 111"/>
                  <a:gd name="T15" fmla="*/ 78 h 53"/>
                  <a:gd name="T16" fmla="*/ 79 w 111"/>
                  <a:gd name="T17" fmla="*/ 76 h 53"/>
                  <a:gd name="T18" fmla="*/ 83 w 111"/>
                  <a:gd name="T19" fmla="*/ 73 h 53"/>
                  <a:gd name="T20" fmla="*/ 88 w 111"/>
                  <a:gd name="T21" fmla="*/ 70 h 53"/>
                  <a:gd name="T22" fmla="*/ 92 w 111"/>
                  <a:gd name="T23" fmla="*/ 66 h 53"/>
                  <a:gd name="T24" fmla="*/ 95 w 111"/>
                  <a:gd name="T25" fmla="*/ 62 h 53"/>
                  <a:gd name="T26" fmla="*/ 99 w 111"/>
                  <a:gd name="T27" fmla="*/ 25 h 53"/>
                  <a:gd name="T28" fmla="*/ 102 w 111"/>
                  <a:gd name="T29" fmla="*/ 20 h 53"/>
                  <a:gd name="T30" fmla="*/ 105 w 111"/>
                  <a:gd name="T31" fmla="*/ 15 h 53"/>
                  <a:gd name="T32" fmla="*/ 107 w 111"/>
                  <a:gd name="T33" fmla="*/ 8 h 53"/>
                  <a:gd name="T34" fmla="*/ 110 w 111"/>
                  <a:gd name="T35" fmla="*/ 2 h 53"/>
                  <a:gd name="T36" fmla="*/ 110 w 111"/>
                  <a:gd name="T37" fmla="*/ 0 h 53"/>
                  <a:gd name="T38" fmla="*/ 87 w 111"/>
                  <a:gd name="T39" fmla="*/ 0 h 53"/>
                  <a:gd name="T40" fmla="*/ 86 w 111"/>
                  <a:gd name="T41" fmla="*/ 3 h 53"/>
                  <a:gd name="T42" fmla="*/ 85 w 111"/>
                  <a:gd name="T43" fmla="*/ 7 h 53"/>
                  <a:gd name="T44" fmla="*/ 83 w 111"/>
                  <a:gd name="T45" fmla="*/ 11 h 53"/>
                  <a:gd name="T46" fmla="*/ 82 w 111"/>
                  <a:gd name="T47" fmla="*/ 15 h 53"/>
                  <a:gd name="T48" fmla="*/ 79 w 111"/>
                  <a:gd name="T49" fmla="*/ 18 h 53"/>
                  <a:gd name="T50" fmla="*/ 77 w 111"/>
                  <a:gd name="T51" fmla="*/ 21 h 53"/>
                  <a:gd name="T52" fmla="*/ 74 w 111"/>
                  <a:gd name="T53" fmla="*/ 24 h 53"/>
                  <a:gd name="T54" fmla="*/ 71 w 111"/>
                  <a:gd name="T55" fmla="*/ 26 h 53"/>
                  <a:gd name="T56" fmla="*/ 68 w 111"/>
                  <a:gd name="T57" fmla="*/ 60 h 53"/>
                  <a:gd name="T58" fmla="*/ 65 w 111"/>
                  <a:gd name="T59" fmla="*/ 63 h 53"/>
                  <a:gd name="T60" fmla="*/ 61 w 111"/>
                  <a:gd name="T61" fmla="*/ 64 h 53"/>
                  <a:gd name="T62" fmla="*/ 57 w 111"/>
                  <a:gd name="T63" fmla="*/ 65 h 53"/>
                  <a:gd name="T64" fmla="*/ 52 w 111"/>
                  <a:gd name="T65" fmla="*/ 67 h 53"/>
                  <a:gd name="T66" fmla="*/ 48 w 111"/>
                  <a:gd name="T67" fmla="*/ 67 h 53"/>
                  <a:gd name="T68" fmla="*/ 43 w 111"/>
                  <a:gd name="T69" fmla="*/ 67 h 53"/>
                  <a:gd name="T70" fmla="*/ 27 w 111"/>
                  <a:gd name="T71" fmla="*/ 67 h 53"/>
                  <a:gd name="T72" fmla="*/ 34 w 111"/>
                  <a:gd name="T73" fmla="*/ 0 h 53"/>
                  <a:gd name="T74" fmla="*/ 11 w 111"/>
                  <a:gd name="T75" fmla="*/ 0 h 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1" h="53">
                    <a:moveTo>
                      <a:pt x="11" y="0"/>
                    </a:moveTo>
                    <a:lnTo>
                      <a:pt x="0" y="52"/>
                    </a:lnTo>
                    <a:lnTo>
                      <a:pt x="47" y="52"/>
                    </a:lnTo>
                    <a:lnTo>
                      <a:pt x="53" y="51"/>
                    </a:lnTo>
                    <a:lnTo>
                      <a:pt x="58" y="51"/>
                    </a:lnTo>
                    <a:lnTo>
                      <a:pt x="63" y="50"/>
                    </a:lnTo>
                    <a:lnTo>
                      <a:pt x="69" y="48"/>
                    </a:lnTo>
                    <a:lnTo>
                      <a:pt x="74" y="46"/>
                    </a:lnTo>
                    <a:lnTo>
                      <a:pt x="79" y="44"/>
                    </a:lnTo>
                    <a:lnTo>
                      <a:pt x="83" y="41"/>
                    </a:lnTo>
                    <a:lnTo>
                      <a:pt x="88" y="38"/>
                    </a:lnTo>
                    <a:lnTo>
                      <a:pt x="92" y="34"/>
                    </a:lnTo>
                    <a:lnTo>
                      <a:pt x="95" y="30"/>
                    </a:lnTo>
                    <a:lnTo>
                      <a:pt x="99" y="25"/>
                    </a:lnTo>
                    <a:lnTo>
                      <a:pt x="102" y="20"/>
                    </a:lnTo>
                    <a:lnTo>
                      <a:pt x="105" y="15"/>
                    </a:lnTo>
                    <a:lnTo>
                      <a:pt x="107" y="8"/>
                    </a:lnTo>
                    <a:lnTo>
                      <a:pt x="110" y="2"/>
                    </a:lnTo>
                    <a:lnTo>
                      <a:pt x="110" y="0"/>
                    </a:lnTo>
                    <a:lnTo>
                      <a:pt x="87" y="0"/>
                    </a:lnTo>
                    <a:lnTo>
                      <a:pt x="86" y="3"/>
                    </a:lnTo>
                    <a:lnTo>
                      <a:pt x="85" y="7"/>
                    </a:lnTo>
                    <a:lnTo>
                      <a:pt x="83" y="11"/>
                    </a:lnTo>
                    <a:lnTo>
                      <a:pt x="82" y="15"/>
                    </a:lnTo>
                    <a:lnTo>
                      <a:pt x="79" y="18"/>
                    </a:lnTo>
                    <a:lnTo>
                      <a:pt x="77" y="21"/>
                    </a:lnTo>
                    <a:lnTo>
                      <a:pt x="74" y="24"/>
                    </a:lnTo>
                    <a:lnTo>
                      <a:pt x="71" y="26"/>
                    </a:lnTo>
                    <a:lnTo>
                      <a:pt x="68" y="28"/>
                    </a:lnTo>
                    <a:lnTo>
                      <a:pt x="65" y="31"/>
                    </a:lnTo>
                    <a:lnTo>
                      <a:pt x="61" y="32"/>
                    </a:lnTo>
                    <a:lnTo>
                      <a:pt x="57" y="33"/>
                    </a:lnTo>
                    <a:lnTo>
                      <a:pt x="52" y="35"/>
                    </a:lnTo>
                    <a:lnTo>
                      <a:pt x="48" y="35"/>
                    </a:lnTo>
                    <a:lnTo>
                      <a:pt x="43" y="35"/>
                    </a:lnTo>
                    <a:lnTo>
                      <a:pt x="27" y="35"/>
                    </a:lnTo>
                    <a:lnTo>
                      <a:pt x="34" y="0"/>
                    </a:lnTo>
                    <a:lnTo>
                      <a:pt x="11" y="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1" name="Freeform 20"/>
              <p:cNvSpPr>
                <a:spLocks/>
              </p:cNvSpPr>
              <p:nvPr/>
            </p:nvSpPr>
            <p:spPr bwMode="auto">
              <a:xfrm>
                <a:off x="1560" y="398"/>
                <a:ext cx="92" cy="108"/>
              </a:xfrm>
              <a:custGeom>
                <a:avLst/>
                <a:gdLst>
                  <a:gd name="T0" fmla="*/ 117 w 91"/>
                  <a:gd name="T1" fmla="*/ 17 h 106"/>
                  <a:gd name="T2" fmla="*/ 113 w 91"/>
                  <a:gd name="T3" fmla="*/ 17 h 106"/>
                  <a:gd name="T4" fmla="*/ 105 w 91"/>
                  <a:gd name="T5" fmla="*/ 17 h 106"/>
                  <a:gd name="T6" fmla="*/ 97 w 91"/>
                  <a:gd name="T7" fmla="*/ 17 h 106"/>
                  <a:gd name="T8" fmla="*/ 89 w 91"/>
                  <a:gd name="T9" fmla="*/ 17 h 106"/>
                  <a:gd name="T10" fmla="*/ 82 w 91"/>
                  <a:gd name="T11" fmla="*/ 18 h 106"/>
                  <a:gd name="T12" fmla="*/ 45 w 91"/>
                  <a:gd name="T13" fmla="*/ 19 h 106"/>
                  <a:gd name="T14" fmla="*/ 43 w 91"/>
                  <a:gd name="T15" fmla="*/ 23 h 106"/>
                  <a:gd name="T16" fmla="*/ 42 w 91"/>
                  <a:gd name="T17" fmla="*/ 59 h 106"/>
                  <a:gd name="T18" fmla="*/ 45 w 91"/>
                  <a:gd name="T19" fmla="*/ 66 h 106"/>
                  <a:gd name="T20" fmla="*/ 82 w 91"/>
                  <a:gd name="T21" fmla="*/ 71 h 106"/>
                  <a:gd name="T22" fmla="*/ 89 w 91"/>
                  <a:gd name="T23" fmla="*/ 77 h 106"/>
                  <a:gd name="T24" fmla="*/ 97 w 91"/>
                  <a:gd name="T25" fmla="*/ 88 h 106"/>
                  <a:gd name="T26" fmla="*/ 104 w 91"/>
                  <a:gd name="T27" fmla="*/ 102 h 106"/>
                  <a:gd name="T28" fmla="*/ 110 w 91"/>
                  <a:gd name="T29" fmla="*/ 118 h 106"/>
                  <a:gd name="T30" fmla="*/ 112 w 91"/>
                  <a:gd name="T31" fmla="*/ 134 h 106"/>
                  <a:gd name="T32" fmla="*/ 110 w 91"/>
                  <a:gd name="T33" fmla="*/ 157 h 106"/>
                  <a:gd name="T34" fmla="*/ 104 w 91"/>
                  <a:gd name="T35" fmla="*/ 170 h 106"/>
                  <a:gd name="T36" fmla="*/ 94 w 91"/>
                  <a:gd name="T37" fmla="*/ 181 h 106"/>
                  <a:gd name="T38" fmla="*/ 78 w 91"/>
                  <a:gd name="T39" fmla="*/ 185 h 106"/>
                  <a:gd name="T40" fmla="*/ 0 w 91"/>
                  <a:gd name="T41" fmla="*/ 187 h 106"/>
                  <a:gd name="T42" fmla="*/ 32 w 91"/>
                  <a:gd name="T43" fmla="*/ 161 h 106"/>
                  <a:gd name="T44" fmla="*/ 39 w 91"/>
                  <a:gd name="T45" fmla="*/ 161 h 106"/>
                  <a:gd name="T46" fmla="*/ 78 w 91"/>
                  <a:gd name="T47" fmla="*/ 160 h 106"/>
                  <a:gd name="T48" fmla="*/ 83 w 91"/>
                  <a:gd name="T49" fmla="*/ 157 h 106"/>
                  <a:gd name="T50" fmla="*/ 86 w 91"/>
                  <a:gd name="T51" fmla="*/ 149 h 106"/>
                  <a:gd name="T52" fmla="*/ 85 w 91"/>
                  <a:gd name="T53" fmla="*/ 132 h 106"/>
                  <a:gd name="T54" fmla="*/ 81 w 91"/>
                  <a:gd name="T55" fmla="*/ 122 h 106"/>
                  <a:gd name="T56" fmla="*/ 42 w 91"/>
                  <a:gd name="T57" fmla="*/ 108 h 106"/>
                  <a:gd name="T58" fmla="*/ 35 w 91"/>
                  <a:gd name="T59" fmla="*/ 96 h 106"/>
                  <a:gd name="T60" fmla="*/ 27 w 91"/>
                  <a:gd name="T61" fmla="*/ 82 h 106"/>
                  <a:gd name="T62" fmla="*/ 21 w 91"/>
                  <a:gd name="T63" fmla="*/ 74 h 106"/>
                  <a:gd name="T64" fmla="*/ 17 w 91"/>
                  <a:gd name="T65" fmla="*/ 66 h 106"/>
                  <a:gd name="T66" fmla="*/ 16 w 91"/>
                  <a:gd name="T67" fmla="*/ 25 h 106"/>
                  <a:gd name="T68" fmla="*/ 20 w 91"/>
                  <a:gd name="T69" fmla="*/ 14 h 106"/>
                  <a:gd name="T70" fmla="*/ 28 w 91"/>
                  <a:gd name="T71" fmla="*/ 7 h 106"/>
                  <a:gd name="T72" fmla="*/ 41 w 91"/>
                  <a:gd name="T73" fmla="*/ 2 h 106"/>
                  <a:gd name="T74" fmla="*/ 91 w 91"/>
                  <a:gd name="T75" fmla="*/ 0 h 106"/>
                  <a:gd name="T76" fmla="*/ 96 w 91"/>
                  <a:gd name="T77" fmla="*/ 0 h 106"/>
                  <a:gd name="T78" fmla="*/ 106 w 91"/>
                  <a:gd name="T79" fmla="*/ 0 h 106"/>
                  <a:gd name="T80" fmla="*/ 117 w 91"/>
                  <a:gd name="T81" fmla="*/ 0 h 106"/>
                  <a:gd name="T82" fmla="*/ 122 w 91"/>
                  <a:gd name="T83" fmla="*/ 0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1" h="106">
                    <a:moveTo>
                      <a:pt x="86" y="17"/>
                    </a:moveTo>
                    <a:lnTo>
                      <a:pt x="85" y="17"/>
                    </a:lnTo>
                    <a:lnTo>
                      <a:pt x="83" y="17"/>
                    </a:lnTo>
                    <a:lnTo>
                      <a:pt x="81" y="17"/>
                    </a:lnTo>
                    <a:lnTo>
                      <a:pt x="77" y="17"/>
                    </a:lnTo>
                    <a:lnTo>
                      <a:pt x="73" y="17"/>
                    </a:lnTo>
                    <a:lnTo>
                      <a:pt x="69" y="17"/>
                    </a:lnTo>
                    <a:lnTo>
                      <a:pt x="65" y="17"/>
                    </a:lnTo>
                    <a:lnTo>
                      <a:pt x="62" y="17"/>
                    </a:lnTo>
                    <a:lnTo>
                      <a:pt x="57" y="17"/>
                    </a:lnTo>
                    <a:lnTo>
                      <a:pt x="53" y="17"/>
                    </a:lnTo>
                    <a:lnTo>
                      <a:pt x="50" y="18"/>
                    </a:lnTo>
                    <a:lnTo>
                      <a:pt x="47" y="19"/>
                    </a:lnTo>
                    <a:lnTo>
                      <a:pt x="45" y="19"/>
                    </a:lnTo>
                    <a:lnTo>
                      <a:pt x="44" y="21"/>
                    </a:lnTo>
                    <a:lnTo>
                      <a:pt x="43" y="23"/>
                    </a:lnTo>
                    <a:lnTo>
                      <a:pt x="42" y="24"/>
                    </a:lnTo>
                    <a:lnTo>
                      <a:pt x="42" y="27"/>
                    </a:lnTo>
                    <a:lnTo>
                      <a:pt x="43" y="30"/>
                    </a:lnTo>
                    <a:lnTo>
                      <a:pt x="45" y="34"/>
                    </a:lnTo>
                    <a:lnTo>
                      <a:pt x="47" y="36"/>
                    </a:lnTo>
                    <a:lnTo>
                      <a:pt x="50" y="39"/>
                    </a:lnTo>
                    <a:lnTo>
                      <a:pt x="53" y="42"/>
                    </a:lnTo>
                    <a:lnTo>
                      <a:pt x="57" y="45"/>
                    </a:lnTo>
                    <a:lnTo>
                      <a:pt x="61" y="49"/>
                    </a:lnTo>
                    <a:lnTo>
                      <a:pt x="65" y="52"/>
                    </a:lnTo>
                    <a:lnTo>
                      <a:pt x="69" y="55"/>
                    </a:lnTo>
                    <a:lnTo>
                      <a:pt x="72" y="59"/>
                    </a:lnTo>
                    <a:lnTo>
                      <a:pt x="75" y="63"/>
                    </a:lnTo>
                    <a:lnTo>
                      <a:pt x="78" y="67"/>
                    </a:lnTo>
                    <a:lnTo>
                      <a:pt x="79" y="71"/>
                    </a:lnTo>
                    <a:lnTo>
                      <a:pt x="80" y="75"/>
                    </a:lnTo>
                    <a:lnTo>
                      <a:pt x="80" y="80"/>
                    </a:lnTo>
                    <a:lnTo>
                      <a:pt x="78" y="85"/>
                    </a:lnTo>
                    <a:lnTo>
                      <a:pt x="76" y="90"/>
                    </a:lnTo>
                    <a:lnTo>
                      <a:pt x="72" y="94"/>
                    </a:lnTo>
                    <a:lnTo>
                      <a:pt x="68" y="98"/>
                    </a:lnTo>
                    <a:lnTo>
                      <a:pt x="62" y="101"/>
                    </a:lnTo>
                    <a:lnTo>
                      <a:pt x="54" y="103"/>
                    </a:lnTo>
                    <a:lnTo>
                      <a:pt x="46" y="104"/>
                    </a:lnTo>
                    <a:lnTo>
                      <a:pt x="36" y="105"/>
                    </a:lnTo>
                    <a:lnTo>
                      <a:pt x="0" y="105"/>
                    </a:lnTo>
                    <a:lnTo>
                      <a:pt x="3" y="88"/>
                    </a:lnTo>
                    <a:lnTo>
                      <a:pt x="32" y="88"/>
                    </a:lnTo>
                    <a:lnTo>
                      <a:pt x="36" y="88"/>
                    </a:lnTo>
                    <a:lnTo>
                      <a:pt x="39" y="88"/>
                    </a:lnTo>
                    <a:lnTo>
                      <a:pt x="42" y="88"/>
                    </a:lnTo>
                    <a:lnTo>
                      <a:pt x="46" y="87"/>
                    </a:lnTo>
                    <a:lnTo>
                      <a:pt x="49" y="86"/>
                    </a:lnTo>
                    <a:lnTo>
                      <a:pt x="51" y="85"/>
                    </a:lnTo>
                    <a:lnTo>
                      <a:pt x="53" y="82"/>
                    </a:lnTo>
                    <a:lnTo>
                      <a:pt x="54" y="80"/>
                    </a:lnTo>
                    <a:lnTo>
                      <a:pt x="54" y="77"/>
                    </a:lnTo>
                    <a:lnTo>
                      <a:pt x="53" y="74"/>
                    </a:lnTo>
                    <a:lnTo>
                      <a:pt x="51" y="71"/>
                    </a:lnTo>
                    <a:lnTo>
                      <a:pt x="49" y="69"/>
                    </a:lnTo>
                    <a:lnTo>
                      <a:pt x="46" y="65"/>
                    </a:lnTo>
                    <a:lnTo>
                      <a:pt x="42" y="62"/>
                    </a:lnTo>
                    <a:lnTo>
                      <a:pt x="38" y="59"/>
                    </a:lnTo>
                    <a:lnTo>
                      <a:pt x="35" y="56"/>
                    </a:lnTo>
                    <a:lnTo>
                      <a:pt x="31" y="53"/>
                    </a:lnTo>
                    <a:lnTo>
                      <a:pt x="27" y="49"/>
                    </a:lnTo>
                    <a:lnTo>
                      <a:pt x="24" y="45"/>
                    </a:lnTo>
                    <a:lnTo>
                      <a:pt x="21" y="42"/>
                    </a:lnTo>
                    <a:lnTo>
                      <a:pt x="18" y="38"/>
                    </a:lnTo>
                    <a:lnTo>
                      <a:pt x="17" y="34"/>
                    </a:lnTo>
                    <a:lnTo>
                      <a:pt x="16" y="29"/>
                    </a:lnTo>
                    <a:lnTo>
                      <a:pt x="16" y="25"/>
                    </a:lnTo>
                    <a:lnTo>
                      <a:pt x="17" y="19"/>
                    </a:lnTo>
                    <a:lnTo>
                      <a:pt x="20" y="14"/>
                    </a:lnTo>
                    <a:lnTo>
                      <a:pt x="23" y="10"/>
                    </a:lnTo>
                    <a:lnTo>
                      <a:pt x="28" y="7"/>
                    </a:lnTo>
                    <a:lnTo>
                      <a:pt x="34" y="4"/>
                    </a:lnTo>
                    <a:lnTo>
                      <a:pt x="41" y="2"/>
                    </a:lnTo>
                    <a:lnTo>
                      <a:pt x="49" y="0"/>
                    </a:lnTo>
                    <a:lnTo>
                      <a:pt x="59" y="0"/>
                    </a:lnTo>
                    <a:lnTo>
                      <a:pt x="60" y="0"/>
                    </a:lnTo>
                    <a:lnTo>
                      <a:pt x="64" y="0"/>
                    </a:lnTo>
                    <a:lnTo>
                      <a:pt x="69" y="0"/>
                    </a:lnTo>
                    <a:lnTo>
                      <a:pt x="74" y="0"/>
                    </a:lnTo>
                    <a:lnTo>
                      <a:pt x="80" y="0"/>
                    </a:lnTo>
                    <a:lnTo>
                      <a:pt x="85" y="0"/>
                    </a:lnTo>
                    <a:lnTo>
                      <a:pt x="89" y="0"/>
                    </a:lnTo>
                    <a:lnTo>
                      <a:pt x="90" y="0"/>
                    </a:lnTo>
                    <a:lnTo>
                      <a:pt x="86"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2" name="Freeform 21"/>
              <p:cNvSpPr>
                <a:spLocks/>
              </p:cNvSpPr>
              <p:nvPr/>
            </p:nvSpPr>
            <p:spPr bwMode="auto">
              <a:xfrm>
                <a:off x="1660" y="398"/>
                <a:ext cx="93" cy="108"/>
              </a:xfrm>
              <a:custGeom>
                <a:avLst/>
                <a:gdLst>
                  <a:gd name="T0" fmla="*/ 88 w 93"/>
                  <a:gd name="T1" fmla="*/ 17 h 106"/>
                  <a:gd name="T2" fmla="*/ 56 w 93"/>
                  <a:gd name="T3" fmla="*/ 17 h 106"/>
                  <a:gd name="T4" fmla="*/ 37 w 93"/>
                  <a:gd name="T5" fmla="*/ 187 h 106"/>
                  <a:gd name="T6" fmla="*/ 14 w 93"/>
                  <a:gd name="T7" fmla="*/ 187 h 106"/>
                  <a:gd name="T8" fmla="*/ 33 w 93"/>
                  <a:gd name="T9" fmla="*/ 17 h 106"/>
                  <a:gd name="T10" fmla="*/ 0 w 93"/>
                  <a:gd name="T11" fmla="*/ 17 h 106"/>
                  <a:gd name="T12" fmla="*/ 4 w 93"/>
                  <a:gd name="T13" fmla="*/ 0 h 106"/>
                  <a:gd name="T14" fmla="*/ 92 w 93"/>
                  <a:gd name="T15" fmla="*/ 0 h 106"/>
                  <a:gd name="T16" fmla="*/ 88 w 93"/>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106">
                    <a:moveTo>
                      <a:pt x="88" y="17"/>
                    </a:moveTo>
                    <a:lnTo>
                      <a:pt x="56" y="17"/>
                    </a:lnTo>
                    <a:lnTo>
                      <a:pt x="37" y="105"/>
                    </a:lnTo>
                    <a:lnTo>
                      <a:pt x="14" y="105"/>
                    </a:lnTo>
                    <a:lnTo>
                      <a:pt x="33" y="17"/>
                    </a:lnTo>
                    <a:lnTo>
                      <a:pt x="0" y="17"/>
                    </a:lnTo>
                    <a:lnTo>
                      <a:pt x="4"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3" name="Freeform 22"/>
              <p:cNvSpPr>
                <a:spLocks/>
              </p:cNvSpPr>
              <p:nvPr/>
            </p:nvSpPr>
            <p:spPr bwMode="auto">
              <a:xfrm>
                <a:off x="1716" y="398"/>
                <a:ext cx="108" cy="108"/>
              </a:xfrm>
              <a:custGeom>
                <a:avLst/>
                <a:gdLst>
                  <a:gd name="T0" fmla="*/ 37 w 108"/>
                  <a:gd name="T1" fmla="*/ 187 h 106"/>
                  <a:gd name="T2" fmla="*/ 47 w 108"/>
                  <a:gd name="T3" fmla="*/ 161 h 106"/>
                  <a:gd name="T4" fmla="*/ 81 w 108"/>
                  <a:gd name="T5" fmla="*/ 161 h 106"/>
                  <a:gd name="T6" fmla="*/ 71 w 108"/>
                  <a:gd name="T7" fmla="*/ 20 h 106"/>
                  <a:gd name="T8" fmla="*/ 24 w 108"/>
                  <a:gd name="T9" fmla="*/ 187 h 106"/>
                  <a:gd name="T10" fmla="*/ 0 w 108"/>
                  <a:gd name="T11" fmla="*/ 187 h 106"/>
                  <a:gd name="T12" fmla="*/ 62 w 108"/>
                  <a:gd name="T13" fmla="*/ 0 h 106"/>
                  <a:gd name="T14" fmla="*/ 90 w 108"/>
                  <a:gd name="T15" fmla="*/ 0 h 106"/>
                  <a:gd name="T16" fmla="*/ 107 w 108"/>
                  <a:gd name="T17" fmla="*/ 187 h 106"/>
                  <a:gd name="T18" fmla="*/ 37 w 108"/>
                  <a:gd name="T19" fmla="*/ 187 h 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106">
                    <a:moveTo>
                      <a:pt x="37" y="105"/>
                    </a:moveTo>
                    <a:lnTo>
                      <a:pt x="47" y="88"/>
                    </a:lnTo>
                    <a:lnTo>
                      <a:pt x="81" y="88"/>
                    </a:lnTo>
                    <a:lnTo>
                      <a:pt x="71" y="20"/>
                    </a:lnTo>
                    <a:lnTo>
                      <a:pt x="24" y="105"/>
                    </a:lnTo>
                    <a:lnTo>
                      <a:pt x="0" y="105"/>
                    </a:lnTo>
                    <a:lnTo>
                      <a:pt x="62" y="0"/>
                    </a:lnTo>
                    <a:lnTo>
                      <a:pt x="90" y="0"/>
                    </a:lnTo>
                    <a:lnTo>
                      <a:pt x="107" y="105"/>
                    </a:lnTo>
                    <a:lnTo>
                      <a:pt x="37" y="105"/>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4" name="Freeform 23"/>
              <p:cNvSpPr>
                <a:spLocks/>
              </p:cNvSpPr>
              <p:nvPr/>
            </p:nvSpPr>
            <p:spPr bwMode="auto">
              <a:xfrm>
                <a:off x="1831" y="398"/>
                <a:ext cx="93" cy="108"/>
              </a:xfrm>
              <a:custGeom>
                <a:avLst/>
                <a:gdLst>
                  <a:gd name="T0" fmla="*/ 57 w 94"/>
                  <a:gd name="T1" fmla="*/ 17 h 106"/>
                  <a:gd name="T2" fmla="*/ 47 w 94"/>
                  <a:gd name="T3" fmla="*/ 17 h 106"/>
                  <a:gd name="T4" fmla="*/ 38 w 94"/>
                  <a:gd name="T5" fmla="*/ 187 h 106"/>
                  <a:gd name="T6" fmla="*/ 14 w 94"/>
                  <a:gd name="T7" fmla="*/ 187 h 106"/>
                  <a:gd name="T8" fmla="*/ 33 w 94"/>
                  <a:gd name="T9" fmla="*/ 17 h 106"/>
                  <a:gd name="T10" fmla="*/ 0 w 94"/>
                  <a:gd name="T11" fmla="*/ 17 h 106"/>
                  <a:gd name="T12" fmla="*/ 4 w 94"/>
                  <a:gd name="T13" fmla="*/ 0 h 106"/>
                  <a:gd name="T14" fmla="*/ 61 w 94"/>
                  <a:gd name="T15" fmla="*/ 0 h 106"/>
                  <a:gd name="T16" fmla="*/ 57 w 94"/>
                  <a:gd name="T17" fmla="*/ 17 h 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 h="106">
                    <a:moveTo>
                      <a:pt x="89" y="17"/>
                    </a:moveTo>
                    <a:lnTo>
                      <a:pt x="56" y="17"/>
                    </a:lnTo>
                    <a:lnTo>
                      <a:pt x="38" y="105"/>
                    </a:lnTo>
                    <a:lnTo>
                      <a:pt x="14" y="105"/>
                    </a:lnTo>
                    <a:lnTo>
                      <a:pt x="33" y="17"/>
                    </a:lnTo>
                    <a:lnTo>
                      <a:pt x="0" y="17"/>
                    </a:lnTo>
                    <a:lnTo>
                      <a:pt x="4" y="0"/>
                    </a:lnTo>
                    <a:lnTo>
                      <a:pt x="93" y="0"/>
                    </a:lnTo>
                    <a:lnTo>
                      <a:pt x="89"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5" name="Freeform 24"/>
              <p:cNvSpPr>
                <a:spLocks/>
              </p:cNvSpPr>
              <p:nvPr/>
            </p:nvSpPr>
            <p:spPr bwMode="auto">
              <a:xfrm>
                <a:off x="1918" y="398"/>
                <a:ext cx="101" cy="108"/>
              </a:xfrm>
              <a:custGeom>
                <a:avLst/>
                <a:gdLst>
                  <a:gd name="T0" fmla="*/ 97 w 101"/>
                  <a:gd name="T1" fmla="*/ 17 h 106"/>
                  <a:gd name="T2" fmla="*/ 43 w 101"/>
                  <a:gd name="T3" fmla="*/ 17 h 106"/>
                  <a:gd name="T4" fmla="*/ 37 w 101"/>
                  <a:gd name="T5" fmla="*/ 76 h 106"/>
                  <a:gd name="T6" fmla="*/ 84 w 101"/>
                  <a:gd name="T7" fmla="*/ 76 h 106"/>
                  <a:gd name="T8" fmla="*/ 80 w 101"/>
                  <a:gd name="T9" fmla="*/ 102 h 106"/>
                  <a:gd name="T10" fmla="*/ 33 w 101"/>
                  <a:gd name="T11" fmla="*/ 102 h 106"/>
                  <a:gd name="T12" fmla="*/ 27 w 101"/>
                  <a:gd name="T13" fmla="*/ 161 h 106"/>
                  <a:gd name="T14" fmla="*/ 81 w 101"/>
                  <a:gd name="T15" fmla="*/ 161 h 106"/>
                  <a:gd name="T16" fmla="*/ 78 w 101"/>
                  <a:gd name="T17" fmla="*/ 187 h 106"/>
                  <a:gd name="T18" fmla="*/ 0 w 101"/>
                  <a:gd name="T19" fmla="*/ 187 h 106"/>
                  <a:gd name="T20" fmla="*/ 23 w 101"/>
                  <a:gd name="T21" fmla="*/ 0 h 106"/>
                  <a:gd name="T22" fmla="*/ 100 w 101"/>
                  <a:gd name="T23" fmla="*/ 0 h 106"/>
                  <a:gd name="T24" fmla="*/ 97 w 101"/>
                  <a:gd name="T25" fmla="*/ 17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1" h="106">
                    <a:moveTo>
                      <a:pt x="97" y="17"/>
                    </a:moveTo>
                    <a:lnTo>
                      <a:pt x="43" y="17"/>
                    </a:lnTo>
                    <a:lnTo>
                      <a:pt x="37" y="44"/>
                    </a:lnTo>
                    <a:lnTo>
                      <a:pt x="84" y="44"/>
                    </a:lnTo>
                    <a:lnTo>
                      <a:pt x="80" y="59"/>
                    </a:lnTo>
                    <a:lnTo>
                      <a:pt x="33" y="59"/>
                    </a:lnTo>
                    <a:lnTo>
                      <a:pt x="27" y="88"/>
                    </a:lnTo>
                    <a:lnTo>
                      <a:pt x="81" y="88"/>
                    </a:lnTo>
                    <a:lnTo>
                      <a:pt x="78" y="105"/>
                    </a:lnTo>
                    <a:lnTo>
                      <a:pt x="0" y="105"/>
                    </a:lnTo>
                    <a:lnTo>
                      <a:pt x="23" y="0"/>
                    </a:lnTo>
                    <a:lnTo>
                      <a:pt x="100" y="0"/>
                    </a:lnTo>
                    <a:lnTo>
                      <a:pt x="9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6" name="Freeform 25"/>
              <p:cNvSpPr>
                <a:spLocks/>
              </p:cNvSpPr>
              <p:nvPr/>
            </p:nvSpPr>
            <p:spPr bwMode="auto">
              <a:xfrm>
                <a:off x="2012" y="398"/>
                <a:ext cx="88" cy="108"/>
              </a:xfrm>
              <a:custGeom>
                <a:avLst/>
                <a:gdLst>
                  <a:gd name="T0" fmla="*/ 43 w 90"/>
                  <a:gd name="T1" fmla="*/ 17 h 106"/>
                  <a:gd name="T2" fmla="*/ 41 w 90"/>
                  <a:gd name="T3" fmla="*/ 17 h 106"/>
                  <a:gd name="T4" fmla="*/ 37 w 90"/>
                  <a:gd name="T5" fmla="*/ 17 h 106"/>
                  <a:gd name="T6" fmla="*/ 32 w 90"/>
                  <a:gd name="T7" fmla="*/ 17 h 106"/>
                  <a:gd name="T8" fmla="*/ 24 w 90"/>
                  <a:gd name="T9" fmla="*/ 17 h 106"/>
                  <a:gd name="T10" fmla="*/ 22 w 90"/>
                  <a:gd name="T11" fmla="*/ 18 h 106"/>
                  <a:gd name="T12" fmla="*/ 22 w 90"/>
                  <a:gd name="T13" fmla="*/ 19 h 106"/>
                  <a:gd name="T14" fmla="*/ 22 w 90"/>
                  <a:gd name="T15" fmla="*/ 23 h 106"/>
                  <a:gd name="T16" fmla="*/ 22 w 90"/>
                  <a:gd name="T17" fmla="*/ 59 h 106"/>
                  <a:gd name="T18" fmla="*/ 22 w 90"/>
                  <a:gd name="T19" fmla="*/ 66 h 106"/>
                  <a:gd name="T20" fmla="*/ 22 w 90"/>
                  <a:gd name="T21" fmla="*/ 71 h 106"/>
                  <a:gd name="T22" fmla="*/ 24 w 90"/>
                  <a:gd name="T23" fmla="*/ 77 h 106"/>
                  <a:gd name="T24" fmla="*/ 32 w 90"/>
                  <a:gd name="T25" fmla="*/ 88 h 106"/>
                  <a:gd name="T26" fmla="*/ 37 w 90"/>
                  <a:gd name="T27" fmla="*/ 102 h 106"/>
                  <a:gd name="T28" fmla="*/ 39 w 90"/>
                  <a:gd name="T29" fmla="*/ 118 h 106"/>
                  <a:gd name="T30" fmla="*/ 41 w 90"/>
                  <a:gd name="T31" fmla="*/ 134 h 106"/>
                  <a:gd name="T32" fmla="*/ 40 w 90"/>
                  <a:gd name="T33" fmla="*/ 157 h 106"/>
                  <a:gd name="T34" fmla="*/ 37 w 90"/>
                  <a:gd name="T35" fmla="*/ 170 h 106"/>
                  <a:gd name="T36" fmla="*/ 29 w 90"/>
                  <a:gd name="T37" fmla="*/ 181 h 106"/>
                  <a:gd name="T38" fmla="*/ 22 w 90"/>
                  <a:gd name="T39" fmla="*/ 185 h 106"/>
                  <a:gd name="T40" fmla="*/ 0 w 90"/>
                  <a:gd name="T41" fmla="*/ 187 h 106"/>
                  <a:gd name="T42" fmla="*/ 22 w 90"/>
                  <a:gd name="T43" fmla="*/ 161 h 106"/>
                  <a:gd name="T44" fmla="*/ 22 w 90"/>
                  <a:gd name="T45" fmla="*/ 161 h 106"/>
                  <a:gd name="T46" fmla="*/ 22 w 90"/>
                  <a:gd name="T47" fmla="*/ 160 h 106"/>
                  <a:gd name="T48" fmla="*/ 22 w 90"/>
                  <a:gd name="T49" fmla="*/ 157 h 106"/>
                  <a:gd name="T50" fmla="*/ 22 w 90"/>
                  <a:gd name="T51" fmla="*/ 149 h 106"/>
                  <a:gd name="T52" fmla="*/ 22 w 90"/>
                  <a:gd name="T53" fmla="*/ 132 h 106"/>
                  <a:gd name="T54" fmla="*/ 22 w 90"/>
                  <a:gd name="T55" fmla="*/ 122 h 106"/>
                  <a:gd name="T56" fmla="*/ 22 w 90"/>
                  <a:gd name="T57" fmla="*/ 108 h 106"/>
                  <a:gd name="T58" fmla="*/ 22 w 90"/>
                  <a:gd name="T59" fmla="*/ 96 h 106"/>
                  <a:gd name="T60" fmla="*/ 22 w 90"/>
                  <a:gd name="T61" fmla="*/ 82 h 106"/>
                  <a:gd name="T62" fmla="*/ 21 w 90"/>
                  <a:gd name="T63" fmla="*/ 74 h 106"/>
                  <a:gd name="T64" fmla="*/ 16 w 90"/>
                  <a:gd name="T65" fmla="*/ 66 h 106"/>
                  <a:gd name="T66" fmla="*/ 15 w 90"/>
                  <a:gd name="T67" fmla="*/ 25 h 106"/>
                  <a:gd name="T68" fmla="*/ 19 w 90"/>
                  <a:gd name="T69" fmla="*/ 14 h 106"/>
                  <a:gd name="T70" fmla="*/ 22 w 90"/>
                  <a:gd name="T71" fmla="*/ 7 h 106"/>
                  <a:gd name="T72" fmla="*/ 22 w 90"/>
                  <a:gd name="T73" fmla="*/ 2 h 106"/>
                  <a:gd name="T74" fmla="*/ 26 w 90"/>
                  <a:gd name="T75" fmla="*/ 0 h 106"/>
                  <a:gd name="T76" fmla="*/ 31 w 90"/>
                  <a:gd name="T77" fmla="*/ 0 h 106"/>
                  <a:gd name="T78" fmla="*/ 38 w 90"/>
                  <a:gd name="T79" fmla="*/ 0 h 106"/>
                  <a:gd name="T80" fmla="*/ 43 w 90"/>
                  <a:gd name="T81" fmla="*/ 0 h 106"/>
                  <a:gd name="T82" fmla="*/ 46 w 90"/>
                  <a:gd name="T83" fmla="*/ 0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0" h="106">
                    <a:moveTo>
                      <a:pt x="85" y="17"/>
                    </a:moveTo>
                    <a:lnTo>
                      <a:pt x="84" y="17"/>
                    </a:lnTo>
                    <a:lnTo>
                      <a:pt x="83" y="17"/>
                    </a:lnTo>
                    <a:lnTo>
                      <a:pt x="79" y="17"/>
                    </a:lnTo>
                    <a:lnTo>
                      <a:pt x="76" y="17"/>
                    </a:lnTo>
                    <a:lnTo>
                      <a:pt x="72" y="17"/>
                    </a:lnTo>
                    <a:lnTo>
                      <a:pt x="68" y="17"/>
                    </a:lnTo>
                    <a:lnTo>
                      <a:pt x="64" y="17"/>
                    </a:lnTo>
                    <a:lnTo>
                      <a:pt x="61" y="17"/>
                    </a:lnTo>
                    <a:lnTo>
                      <a:pt x="56" y="17"/>
                    </a:lnTo>
                    <a:lnTo>
                      <a:pt x="53" y="17"/>
                    </a:lnTo>
                    <a:lnTo>
                      <a:pt x="49" y="18"/>
                    </a:lnTo>
                    <a:lnTo>
                      <a:pt x="47" y="19"/>
                    </a:lnTo>
                    <a:lnTo>
                      <a:pt x="45" y="19"/>
                    </a:lnTo>
                    <a:lnTo>
                      <a:pt x="43" y="21"/>
                    </a:lnTo>
                    <a:lnTo>
                      <a:pt x="42" y="23"/>
                    </a:lnTo>
                    <a:lnTo>
                      <a:pt x="42" y="24"/>
                    </a:lnTo>
                    <a:lnTo>
                      <a:pt x="42" y="27"/>
                    </a:lnTo>
                    <a:lnTo>
                      <a:pt x="42" y="30"/>
                    </a:lnTo>
                    <a:lnTo>
                      <a:pt x="44" y="34"/>
                    </a:lnTo>
                    <a:lnTo>
                      <a:pt x="46" y="36"/>
                    </a:lnTo>
                    <a:lnTo>
                      <a:pt x="49" y="39"/>
                    </a:lnTo>
                    <a:lnTo>
                      <a:pt x="53" y="42"/>
                    </a:lnTo>
                    <a:lnTo>
                      <a:pt x="56" y="45"/>
                    </a:lnTo>
                    <a:lnTo>
                      <a:pt x="60" y="49"/>
                    </a:lnTo>
                    <a:lnTo>
                      <a:pt x="64" y="52"/>
                    </a:lnTo>
                    <a:lnTo>
                      <a:pt x="68" y="55"/>
                    </a:lnTo>
                    <a:lnTo>
                      <a:pt x="71" y="59"/>
                    </a:lnTo>
                    <a:lnTo>
                      <a:pt x="74" y="63"/>
                    </a:lnTo>
                    <a:lnTo>
                      <a:pt x="76" y="67"/>
                    </a:lnTo>
                    <a:lnTo>
                      <a:pt x="78" y="71"/>
                    </a:lnTo>
                    <a:lnTo>
                      <a:pt x="79" y="75"/>
                    </a:lnTo>
                    <a:lnTo>
                      <a:pt x="79" y="80"/>
                    </a:lnTo>
                    <a:lnTo>
                      <a:pt x="77" y="85"/>
                    </a:lnTo>
                    <a:lnTo>
                      <a:pt x="75" y="90"/>
                    </a:lnTo>
                    <a:lnTo>
                      <a:pt x="72" y="94"/>
                    </a:lnTo>
                    <a:lnTo>
                      <a:pt x="67" y="98"/>
                    </a:lnTo>
                    <a:lnTo>
                      <a:pt x="61" y="101"/>
                    </a:lnTo>
                    <a:lnTo>
                      <a:pt x="54" y="103"/>
                    </a:lnTo>
                    <a:lnTo>
                      <a:pt x="45" y="104"/>
                    </a:lnTo>
                    <a:lnTo>
                      <a:pt x="35" y="105"/>
                    </a:lnTo>
                    <a:lnTo>
                      <a:pt x="0" y="105"/>
                    </a:lnTo>
                    <a:lnTo>
                      <a:pt x="4" y="88"/>
                    </a:lnTo>
                    <a:lnTo>
                      <a:pt x="32" y="88"/>
                    </a:lnTo>
                    <a:lnTo>
                      <a:pt x="35" y="88"/>
                    </a:lnTo>
                    <a:lnTo>
                      <a:pt x="38" y="88"/>
                    </a:lnTo>
                    <a:lnTo>
                      <a:pt x="42" y="88"/>
                    </a:lnTo>
                    <a:lnTo>
                      <a:pt x="45" y="87"/>
                    </a:lnTo>
                    <a:lnTo>
                      <a:pt x="48" y="86"/>
                    </a:lnTo>
                    <a:lnTo>
                      <a:pt x="50" y="85"/>
                    </a:lnTo>
                    <a:lnTo>
                      <a:pt x="52" y="82"/>
                    </a:lnTo>
                    <a:lnTo>
                      <a:pt x="53" y="80"/>
                    </a:lnTo>
                    <a:lnTo>
                      <a:pt x="53" y="77"/>
                    </a:lnTo>
                    <a:lnTo>
                      <a:pt x="53" y="74"/>
                    </a:lnTo>
                    <a:lnTo>
                      <a:pt x="51" y="71"/>
                    </a:lnTo>
                    <a:lnTo>
                      <a:pt x="48" y="69"/>
                    </a:lnTo>
                    <a:lnTo>
                      <a:pt x="45" y="65"/>
                    </a:lnTo>
                    <a:lnTo>
                      <a:pt x="42" y="62"/>
                    </a:lnTo>
                    <a:lnTo>
                      <a:pt x="38" y="59"/>
                    </a:lnTo>
                    <a:lnTo>
                      <a:pt x="35" y="56"/>
                    </a:lnTo>
                    <a:lnTo>
                      <a:pt x="31" y="53"/>
                    </a:lnTo>
                    <a:lnTo>
                      <a:pt x="27" y="49"/>
                    </a:lnTo>
                    <a:lnTo>
                      <a:pt x="24" y="45"/>
                    </a:lnTo>
                    <a:lnTo>
                      <a:pt x="21" y="42"/>
                    </a:lnTo>
                    <a:lnTo>
                      <a:pt x="18" y="38"/>
                    </a:lnTo>
                    <a:lnTo>
                      <a:pt x="16" y="34"/>
                    </a:lnTo>
                    <a:lnTo>
                      <a:pt x="15" y="29"/>
                    </a:lnTo>
                    <a:lnTo>
                      <a:pt x="15" y="25"/>
                    </a:lnTo>
                    <a:lnTo>
                      <a:pt x="17" y="19"/>
                    </a:lnTo>
                    <a:lnTo>
                      <a:pt x="19" y="14"/>
                    </a:lnTo>
                    <a:lnTo>
                      <a:pt x="23" y="10"/>
                    </a:lnTo>
                    <a:lnTo>
                      <a:pt x="27" y="7"/>
                    </a:lnTo>
                    <a:lnTo>
                      <a:pt x="34" y="4"/>
                    </a:lnTo>
                    <a:lnTo>
                      <a:pt x="40" y="2"/>
                    </a:lnTo>
                    <a:lnTo>
                      <a:pt x="49" y="0"/>
                    </a:lnTo>
                    <a:lnTo>
                      <a:pt x="58" y="0"/>
                    </a:lnTo>
                    <a:lnTo>
                      <a:pt x="60" y="0"/>
                    </a:lnTo>
                    <a:lnTo>
                      <a:pt x="63" y="0"/>
                    </a:lnTo>
                    <a:lnTo>
                      <a:pt x="68" y="0"/>
                    </a:lnTo>
                    <a:lnTo>
                      <a:pt x="74" y="0"/>
                    </a:lnTo>
                    <a:lnTo>
                      <a:pt x="79" y="0"/>
                    </a:lnTo>
                    <a:lnTo>
                      <a:pt x="84" y="0"/>
                    </a:lnTo>
                    <a:lnTo>
                      <a:pt x="88" y="0"/>
                    </a:lnTo>
                    <a:lnTo>
                      <a:pt x="89" y="0"/>
                    </a:lnTo>
                    <a:lnTo>
                      <a:pt x="85"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7" name="Freeform 26"/>
              <p:cNvSpPr>
                <a:spLocks/>
              </p:cNvSpPr>
              <p:nvPr/>
            </p:nvSpPr>
            <p:spPr bwMode="auto">
              <a:xfrm>
                <a:off x="899" y="575"/>
                <a:ext cx="100" cy="104"/>
              </a:xfrm>
              <a:custGeom>
                <a:avLst/>
                <a:gdLst>
                  <a:gd name="T0" fmla="*/ 85 w 99"/>
                  <a:gd name="T1" fmla="*/ 52 h 105"/>
                  <a:gd name="T2" fmla="*/ 83 w 99"/>
                  <a:gd name="T3" fmla="*/ 52 h 105"/>
                  <a:gd name="T4" fmla="*/ 82 w 99"/>
                  <a:gd name="T5" fmla="*/ 52 h 105"/>
                  <a:gd name="T6" fmla="*/ 49 w 99"/>
                  <a:gd name="T7" fmla="*/ 52 h 105"/>
                  <a:gd name="T8" fmla="*/ 47 w 99"/>
                  <a:gd name="T9" fmla="*/ 52 h 105"/>
                  <a:gd name="T10" fmla="*/ 46 w 99"/>
                  <a:gd name="T11" fmla="*/ 52 h 105"/>
                  <a:gd name="T12" fmla="*/ 44 w 99"/>
                  <a:gd name="T13" fmla="*/ 52 h 105"/>
                  <a:gd name="T14" fmla="*/ 43 w 99"/>
                  <a:gd name="T15" fmla="*/ 52 h 105"/>
                  <a:gd name="T16" fmla="*/ 42 w 99"/>
                  <a:gd name="T17" fmla="*/ 52 h 105"/>
                  <a:gd name="T18" fmla="*/ 41 w 99"/>
                  <a:gd name="T19" fmla="*/ 48 h 105"/>
                  <a:gd name="T20" fmla="*/ 42 w 99"/>
                  <a:gd name="T21" fmla="*/ 48 h 105"/>
                  <a:gd name="T22" fmla="*/ 43 w 99"/>
                  <a:gd name="T23" fmla="*/ 49 h 105"/>
                  <a:gd name="T24" fmla="*/ 44 w 99"/>
                  <a:gd name="T25" fmla="*/ 49 h 105"/>
                  <a:gd name="T26" fmla="*/ 46 w 99"/>
                  <a:gd name="T27" fmla="*/ 49 h 105"/>
                  <a:gd name="T28" fmla="*/ 47 w 99"/>
                  <a:gd name="T29" fmla="*/ 49 h 105"/>
                  <a:gd name="T30" fmla="*/ 48 w 99"/>
                  <a:gd name="T31" fmla="*/ 49 h 105"/>
                  <a:gd name="T32" fmla="*/ 82 w 99"/>
                  <a:gd name="T33" fmla="*/ 49 h 105"/>
                  <a:gd name="T34" fmla="*/ 83 w 99"/>
                  <a:gd name="T35" fmla="*/ 49 h 105"/>
                  <a:gd name="T36" fmla="*/ 88 w 99"/>
                  <a:gd name="T37" fmla="*/ 49 h 105"/>
                  <a:gd name="T38" fmla="*/ 93 w 99"/>
                  <a:gd name="T39" fmla="*/ 47 h 105"/>
                  <a:gd name="T40" fmla="*/ 97 w 99"/>
                  <a:gd name="T41" fmla="*/ 45 h 105"/>
                  <a:gd name="T42" fmla="*/ 100 w 99"/>
                  <a:gd name="T43" fmla="*/ 43 h 105"/>
                  <a:gd name="T44" fmla="*/ 103 w 99"/>
                  <a:gd name="T45" fmla="*/ 40 h 105"/>
                  <a:gd name="T46" fmla="*/ 104 w 99"/>
                  <a:gd name="T47" fmla="*/ 37 h 105"/>
                  <a:gd name="T48" fmla="*/ 105 w 99"/>
                  <a:gd name="T49" fmla="*/ 35 h 105"/>
                  <a:gd name="T50" fmla="*/ 106 w 99"/>
                  <a:gd name="T51" fmla="*/ 32 h 105"/>
                  <a:gd name="T52" fmla="*/ 107 w 99"/>
                  <a:gd name="T53" fmla="*/ 28 h 105"/>
                  <a:gd name="T54" fmla="*/ 106 w 99"/>
                  <a:gd name="T55" fmla="*/ 25 h 105"/>
                  <a:gd name="T56" fmla="*/ 106 w 99"/>
                  <a:gd name="T57" fmla="*/ 22 h 105"/>
                  <a:gd name="T58" fmla="*/ 104 w 99"/>
                  <a:gd name="T59" fmla="*/ 20 h 105"/>
                  <a:gd name="T60" fmla="*/ 103 w 99"/>
                  <a:gd name="T61" fmla="*/ 19 h 105"/>
                  <a:gd name="T62" fmla="*/ 100 w 99"/>
                  <a:gd name="T63" fmla="*/ 17 h 105"/>
                  <a:gd name="T64" fmla="*/ 97 w 99"/>
                  <a:gd name="T65" fmla="*/ 17 h 105"/>
                  <a:gd name="T66" fmla="*/ 94 w 99"/>
                  <a:gd name="T67" fmla="*/ 17 h 105"/>
                  <a:gd name="T68" fmla="*/ 43 w 99"/>
                  <a:gd name="T69" fmla="*/ 17 h 105"/>
                  <a:gd name="T70" fmla="*/ 24 w 99"/>
                  <a:gd name="T71" fmla="*/ 72 h 105"/>
                  <a:gd name="T72" fmla="*/ 0 w 99"/>
                  <a:gd name="T73" fmla="*/ 72 h 105"/>
                  <a:gd name="T74" fmla="*/ 23 w 99"/>
                  <a:gd name="T75" fmla="*/ 0 h 105"/>
                  <a:gd name="T76" fmla="*/ 106 w 99"/>
                  <a:gd name="T77" fmla="*/ 0 h 105"/>
                  <a:gd name="T78" fmla="*/ 114 w 99"/>
                  <a:gd name="T79" fmla="*/ 1 h 105"/>
                  <a:gd name="T80" fmla="*/ 120 w 99"/>
                  <a:gd name="T81" fmla="*/ 3 h 105"/>
                  <a:gd name="T82" fmla="*/ 124 w 99"/>
                  <a:gd name="T83" fmla="*/ 7 h 105"/>
                  <a:gd name="T84" fmla="*/ 128 w 99"/>
                  <a:gd name="T85" fmla="*/ 11 h 105"/>
                  <a:gd name="T86" fmla="*/ 129 w 99"/>
                  <a:gd name="T87" fmla="*/ 17 h 105"/>
                  <a:gd name="T88" fmla="*/ 130 w 99"/>
                  <a:gd name="T89" fmla="*/ 22 h 105"/>
                  <a:gd name="T90" fmla="*/ 130 w 99"/>
                  <a:gd name="T91" fmla="*/ 27 h 105"/>
                  <a:gd name="T92" fmla="*/ 129 w 99"/>
                  <a:gd name="T93" fmla="*/ 32 h 105"/>
                  <a:gd name="T94" fmla="*/ 127 w 99"/>
                  <a:gd name="T95" fmla="*/ 40 h 105"/>
                  <a:gd name="T96" fmla="*/ 123 w 99"/>
                  <a:gd name="T97" fmla="*/ 46 h 105"/>
                  <a:gd name="T98" fmla="*/ 119 w 99"/>
                  <a:gd name="T99" fmla="*/ 51 h 105"/>
                  <a:gd name="T100" fmla="*/ 113 w 99"/>
                  <a:gd name="T101" fmla="*/ 52 h 105"/>
                  <a:gd name="T102" fmla="*/ 107 w 99"/>
                  <a:gd name="T103" fmla="*/ 52 h 105"/>
                  <a:gd name="T104" fmla="*/ 100 w 99"/>
                  <a:gd name="T105" fmla="*/ 52 h 105"/>
                  <a:gd name="T106" fmla="*/ 93 w 99"/>
                  <a:gd name="T107" fmla="*/ 52 h 105"/>
                  <a:gd name="T108" fmla="*/ 85 w 99"/>
                  <a:gd name="T109" fmla="*/ 52 h 10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9" h="105">
                    <a:moveTo>
                      <a:pt x="53" y="64"/>
                    </a:moveTo>
                    <a:lnTo>
                      <a:pt x="51" y="64"/>
                    </a:lnTo>
                    <a:lnTo>
                      <a:pt x="50" y="64"/>
                    </a:lnTo>
                    <a:lnTo>
                      <a:pt x="49" y="64"/>
                    </a:lnTo>
                    <a:lnTo>
                      <a:pt x="47" y="64"/>
                    </a:lnTo>
                    <a:lnTo>
                      <a:pt x="46" y="64"/>
                    </a:lnTo>
                    <a:lnTo>
                      <a:pt x="44" y="64"/>
                    </a:lnTo>
                    <a:lnTo>
                      <a:pt x="43" y="64"/>
                    </a:lnTo>
                    <a:lnTo>
                      <a:pt x="42" y="63"/>
                    </a:lnTo>
                    <a:lnTo>
                      <a:pt x="41" y="48"/>
                    </a:lnTo>
                    <a:lnTo>
                      <a:pt x="42" y="48"/>
                    </a:lnTo>
                    <a:lnTo>
                      <a:pt x="43" y="49"/>
                    </a:lnTo>
                    <a:lnTo>
                      <a:pt x="44" y="49"/>
                    </a:lnTo>
                    <a:lnTo>
                      <a:pt x="46" y="49"/>
                    </a:lnTo>
                    <a:lnTo>
                      <a:pt x="47" y="49"/>
                    </a:lnTo>
                    <a:lnTo>
                      <a:pt x="48" y="49"/>
                    </a:lnTo>
                    <a:lnTo>
                      <a:pt x="50" y="49"/>
                    </a:lnTo>
                    <a:lnTo>
                      <a:pt x="51" y="49"/>
                    </a:lnTo>
                    <a:lnTo>
                      <a:pt x="56" y="49"/>
                    </a:lnTo>
                    <a:lnTo>
                      <a:pt x="61" y="47"/>
                    </a:lnTo>
                    <a:lnTo>
                      <a:pt x="65" y="45"/>
                    </a:lnTo>
                    <a:lnTo>
                      <a:pt x="68" y="43"/>
                    </a:lnTo>
                    <a:lnTo>
                      <a:pt x="71" y="40"/>
                    </a:lnTo>
                    <a:lnTo>
                      <a:pt x="72" y="37"/>
                    </a:lnTo>
                    <a:lnTo>
                      <a:pt x="73" y="35"/>
                    </a:lnTo>
                    <a:lnTo>
                      <a:pt x="74" y="32"/>
                    </a:lnTo>
                    <a:lnTo>
                      <a:pt x="75" y="28"/>
                    </a:lnTo>
                    <a:lnTo>
                      <a:pt x="74" y="25"/>
                    </a:lnTo>
                    <a:lnTo>
                      <a:pt x="74" y="22"/>
                    </a:lnTo>
                    <a:lnTo>
                      <a:pt x="72" y="20"/>
                    </a:lnTo>
                    <a:lnTo>
                      <a:pt x="71" y="19"/>
                    </a:lnTo>
                    <a:lnTo>
                      <a:pt x="68" y="17"/>
                    </a:lnTo>
                    <a:lnTo>
                      <a:pt x="65" y="17"/>
                    </a:lnTo>
                    <a:lnTo>
                      <a:pt x="62" y="17"/>
                    </a:lnTo>
                    <a:lnTo>
                      <a:pt x="43" y="17"/>
                    </a:lnTo>
                    <a:lnTo>
                      <a:pt x="24" y="104"/>
                    </a:lnTo>
                    <a:lnTo>
                      <a:pt x="0" y="104"/>
                    </a:lnTo>
                    <a:lnTo>
                      <a:pt x="23" y="0"/>
                    </a:lnTo>
                    <a:lnTo>
                      <a:pt x="74" y="0"/>
                    </a:lnTo>
                    <a:lnTo>
                      <a:pt x="82" y="1"/>
                    </a:lnTo>
                    <a:lnTo>
                      <a:pt x="88" y="3"/>
                    </a:lnTo>
                    <a:lnTo>
                      <a:pt x="92" y="7"/>
                    </a:lnTo>
                    <a:lnTo>
                      <a:pt x="96" y="11"/>
                    </a:lnTo>
                    <a:lnTo>
                      <a:pt x="97" y="17"/>
                    </a:lnTo>
                    <a:lnTo>
                      <a:pt x="98" y="22"/>
                    </a:lnTo>
                    <a:lnTo>
                      <a:pt x="98" y="27"/>
                    </a:lnTo>
                    <a:lnTo>
                      <a:pt x="97" y="32"/>
                    </a:lnTo>
                    <a:lnTo>
                      <a:pt x="95" y="40"/>
                    </a:lnTo>
                    <a:lnTo>
                      <a:pt x="91" y="46"/>
                    </a:lnTo>
                    <a:lnTo>
                      <a:pt x="87" y="51"/>
                    </a:lnTo>
                    <a:lnTo>
                      <a:pt x="81" y="56"/>
                    </a:lnTo>
                    <a:lnTo>
                      <a:pt x="75" y="59"/>
                    </a:lnTo>
                    <a:lnTo>
                      <a:pt x="68" y="62"/>
                    </a:lnTo>
                    <a:lnTo>
                      <a:pt x="61" y="64"/>
                    </a:lnTo>
                    <a:lnTo>
                      <a:pt x="53" y="6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8" name="Freeform 27"/>
              <p:cNvSpPr>
                <a:spLocks/>
              </p:cNvSpPr>
              <p:nvPr/>
            </p:nvSpPr>
            <p:spPr bwMode="auto">
              <a:xfrm>
                <a:off x="1005" y="574"/>
                <a:ext cx="115" cy="55"/>
              </a:xfrm>
              <a:custGeom>
                <a:avLst/>
                <a:gdLst>
                  <a:gd name="T0" fmla="*/ 0 w 115"/>
                  <a:gd name="T1" fmla="*/ 54 h 55"/>
                  <a:gd name="T2" fmla="*/ 0 w 115"/>
                  <a:gd name="T3" fmla="*/ 54 h 55"/>
                  <a:gd name="T4" fmla="*/ 2 w 115"/>
                  <a:gd name="T5" fmla="*/ 47 h 55"/>
                  <a:gd name="T6" fmla="*/ 4 w 115"/>
                  <a:gd name="T7" fmla="*/ 41 h 55"/>
                  <a:gd name="T8" fmla="*/ 7 w 115"/>
                  <a:gd name="T9" fmla="*/ 35 h 55"/>
                  <a:gd name="T10" fmla="*/ 10 w 115"/>
                  <a:gd name="T11" fmla="*/ 30 h 55"/>
                  <a:gd name="T12" fmla="*/ 13 w 115"/>
                  <a:gd name="T13" fmla="*/ 25 h 55"/>
                  <a:gd name="T14" fmla="*/ 16 w 115"/>
                  <a:gd name="T15" fmla="*/ 21 h 55"/>
                  <a:gd name="T16" fmla="*/ 20 w 115"/>
                  <a:gd name="T17" fmla="*/ 17 h 55"/>
                  <a:gd name="T18" fmla="*/ 25 w 115"/>
                  <a:gd name="T19" fmla="*/ 13 h 55"/>
                  <a:gd name="T20" fmla="*/ 29 w 115"/>
                  <a:gd name="T21" fmla="*/ 10 h 55"/>
                  <a:gd name="T22" fmla="*/ 34 w 115"/>
                  <a:gd name="T23" fmla="*/ 7 h 55"/>
                  <a:gd name="T24" fmla="*/ 39 w 115"/>
                  <a:gd name="T25" fmla="*/ 5 h 55"/>
                  <a:gd name="T26" fmla="*/ 45 w 115"/>
                  <a:gd name="T27" fmla="*/ 3 h 55"/>
                  <a:gd name="T28" fmla="*/ 50 w 115"/>
                  <a:gd name="T29" fmla="*/ 2 h 55"/>
                  <a:gd name="T30" fmla="*/ 56 w 115"/>
                  <a:gd name="T31" fmla="*/ 1 h 55"/>
                  <a:gd name="T32" fmla="*/ 62 w 115"/>
                  <a:gd name="T33" fmla="*/ 0 h 55"/>
                  <a:gd name="T34" fmla="*/ 68 w 115"/>
                  <a:gd name="T35" fmla="*/ 0 h 55"/>
                  <a:gd name="T36" fmla="*/ 74 w 115"/>
                  <a:gd name="T37" fmla="*/ 0 h 55"/>
                  <a:gd name="T38" fmla="*/ 80 w 115"/>
                  <a:gd name="T39" fmla="*/ 1 h 55"/>
                  <a:gd name="T40" fmla="*/ 85 w 115"/>
                  <a:gd name="T41" fmla="*/ 2 h 55"/>
                  <a:gd name="T42" fmla="*/ 89 w 115"/>
                  <a:gd name="T43" fmla="*/ 4 h 55"/>
                  <a:gd name="T44" fmla="*/ 94 w 115"/>
                  <a:gd name="T45" fmla="*/ 6 h 55"/>
                  <a:gd name="T46" fmla="*/ 98 w 115"/>
                  <a:gd name="T47" fmla="*/ 9 h 55"/>
                  <a:gd name="T48" fmla="*/ 102 w 115"/>
                  <a:gd name="T49" fmla="*/ 12 h 55"/>
                  <a:gd name="T50" fmla="*/ 105 w 115"/>
                  <a:gd name="T51" fmla="*/ 15 h 55"/>
                  <a:gd name="T52" fmla="*/ 107 w 115"/>
                  <a:gd name="T53" fmla="*/ 19 h 55"/>
                  <a:gd name="T54" fmla="*/ 110 w 115"/>
                  <a:gd name="T55" fmla="*/ 23 h 55"/>
                  <a:gd name="T56" fmla="*/ 111 w 115"/>
                  <a:gd name="T57" fmla="*/ 28 h 55"/>
                  <a:gd name="T58" fmla="*/ 113 w 115"/>
                  <a:gd name="T59" fmla="*/ 32 h 55"/>
                  <a:gd name="T60" fmla="*/ 114 w 115"/>
                  <a:gd name="T61" fmla="*/ 37 h 55"/>
                  <a:gd name="T62" fmla="*/ 114 w 115"/>
                  <a:gd name="T63" fmla="*/ 43 h 55"/>
                  <a:gd name="T64" fmla="*/ 113 w 115"/>
                  <a:gd name="T65" fmla="*/ 48 h 55"/>
                  <a:gd name="T66" fmla="*/ 112 w 115"/>
                  <a:gd name="T67" fmla="*/ 54 h 55"/>
                  <a:gd name="T68" fmla="*/ 112 w 115"/>
                  <a:gd name="T69" fmla="*/ 54 h 55"/>
                  <a:gd name="T70" fmla="*/ 88 w 115"/>
                  <a:gd name="T71" fmla="*/ 54 h 55"/>
                  <a:gd name="T72" fmla="*/ 88 w 115"/>
                  <a:gd name="T73" fmla="*/ 54 h 55"/>
                  <a:gd name="T74" fmla="*/ 89 w 115"/>
                  <a:gd name="T75" fmla="*/ 46 h 55"/>
                  <a:gd name="T76" fmla="*/ 90 w 115"/>
                  <a:gd name="T77" fmla="*/ 39 h 55"/>
                  <a:gd name="T78" fmla="*/ 88 w 115"/>
                  <a:gd name="T79" fmla="*/ 33 h 55"/>
                  <a:gd name="T80" fmla="*/ 86 w 115"/>
                  <a:gd name="T81" fmla="*/ 27 h 55"/>
                  <a:gd name="T82" fmla="*/ 83 w 115"/>
                  <a:gd name="T83" fmla="*/ 23 h 55"/>
                  <a:gd name="T84" fmla="*/ 78 w 115"/>
                  <a:gd name="T85" fmla="*/ 19 h 55"/>
                  <a:gd name="T86" fmla="*/ 72 w 115"/>
                  <a:gd name="T87" fmla="*/ 17 h 55"/>
                  <a:gd name="T88" fmla="*/ 65 w 115"/>
                  <a:gd name="T89" fmla="*/ 17 h 55"/>
                  <a:gd name="T90" fmla="*/ 57 w 115"/>
                  <a:gd name="T91" fmla="*/ 17 h 55"/>
                  <a:gd name="T92" fmla="*/ 50 w 115"/>
                  <a:gd name="T93" fmla="*/ 19 h 55"/>
                  <a:gd name="T94" fmla="*/ 44 w 115"/>
                  <a:gd name="T95" fmla="*/ 22 h 55"/>
                  <a:gd name="T96" fmla="*/ 38 w 115"/>
                  <a:gd name="T97" fmla="*/ 27 h 55"/>
                  <a:gd name="T98" fmla="*/ 33 w 115"/>
                  <a:gd name="T99" fmla="*/ 32 h 55"/>
                  <a:gd name="T100" fmla="*/ 29 w 115"/>
                  <a:gd name="T101" fmla="*/ 38 h 55"/>
                  <a:gd name="T102" fmla="*/ 27 w 115"/>
                  <a:gd name="T103" fmla="*/ 46 h 55"/>
                  <a:gd name="T104" fmla="*/ 24 w 115"/>
                  <a:gd name="T105" fmla="*/ 54 h 55"/>
                  <a:gd name="T106" fmla="*/ 24 w 115"/>
                  <a:gd name="T107" fmla="*/ 54 h 55"/>
                  <a:gd name="T108" fmla="*/ 0 w 115"/>
                  <a:gd name="T109" fmla="*/ 54 h 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 h="55">
                    <a:moveTo>
                      <a:pt x="0" y="54"/>
                    </a:moveTo>
                    <a:lnTo>
                      <a:pt x="0" y="54"/>
                    </a:lnTo>
                    <a:lnTo>
                      <a:pt x="2" y="47"/>
                    </a:lnTo>
                    <a:lnTo>
                      <a:pt x="4" y="41"/>
                    </a:lnTo>
                    <a:lnTo>
                      <a:pt x="7" y="35"/>
                    </a:lnTo>
                    <a:lnTo>
                      <a:pt x="10" y="30"/>
                    </a:lnTo>
                    <a:lnTo>
                      <a:pt x="13" y="25"/>
                    </a:lnTo>
                    <a:lnTo>
                      <a:pt x="16" y="21"/>
                    </a:lnTo>
                    <a:lnTo>
                      <a:pt x="20" y="17"/>
                    </a:lnTo>
                    <a:lnTo>
                      <a:pt x="25" y="13"/>
                    </a:lnTo>
                    <a:lnTo>
                      <a:pt x="29" y="10"/>
                    </a:lnTo>
                    <a:lnTo>
                      <a:pt x="34" y="7"/>
                    </a:lnTo>
                    <a:lnTo>
                      <a:pt x="39" y="5"/>
                    </a:lnTo>
                    <a:lnTo>
                      <a:pt x="45" y="3"/>
                    </a:lnTo>
                    <a:lnTo>
                      <a:pt x="50" y="2"/>
                    </a:lnTo>
                    <a:lnTo>
                      <a:pt x="56" y="1"/>
                    </a:lnTo>
                    <a:lnTo>
                      <a:pt x="62" y="0"/>
                    </a:lnTo>
                    <a:lnTo>
                      <a:pt x="68" y="0"/>
                    </a:lnTo>
                    <a:lnTo>
                      <a:pt x="74" y="0"/>
                    </a:lnTo>
                    <a:lnTo>
                      <a:pt x="80" y="1"/>
                    </a:lnTo>
                    <a:lnTo>
                      <a:pt x="85" y="2"/>
                    </a:lnTo>
                    <a:lnTo>
                      <a:pt x="89" y="4"/>
                    </a:lnTo>
                    <a:lnTo>
                      <a:pt x="94" y="6"/>
                    </a:lnTo>
                    <a:lnTo>
                      <a:pt x="98" y="9"/>
                    </a:lnTo>
                    <a:lnTo>
                      <a:pt x="102" y="12"/>
                    </a:lnTo>
                    <a:lnTo>
                      <a:pt x="105" y="15"/>
                    </a:lnTo>
                    <a:lnTo>
                      <a:pt x="107" y="19"/>
                    </a:lnTo>
                    <a:lnTo>
                      <a:pt x="110" y="23"/>
                    </a:lnTo>
                    <a:lnTo>
                      <a:pt x="111" y="28"/>
                    </a:lnTo>
                    <a:lnTo>
                      <a:pt x="113" y="32"/>
                    </a:lnTo>
                    <a:lnTo>
                      <a:pt x="114" y="37"/>
                    </a:lnTo>
                    <a:lnTo>
                      <a:pt x="114" y="43"/>
                    </a:lnTo>
                    <a:lnTo>
                      <a:pt x="113" y="48"/>
                    </a:lnTo>
                    <a:lnTo>
                      <a:pt x="112" y="54"/>
                    </a:lnTo>
                    <a:lnTo>
                      <a:pt x="88" y="54"/>
                    </a:lnTo>
                    <a:lnTo>
                      <a:pt x="89" y="46"/>
                    </a:lnTo>
                    <a:lnTo>
                      <a:pt x="90" y="39"/>
                    </a:lnTo>
                    <a:lnTo>
                      <a:pt x="88" y="33"/>
                    </a:lnTo>
                    <a:lnTo>
                      <a:pt x="86" y="27"/>
                    </a:lnTo>
                    <a:lnTo>
                      <a:pt x="83" y="23"/>
                    </a:lnTo>
                    <a:lnTo>
                      <a:pt x="78" y="19"/>
                    </a:lnTo>
                    <a:lnTo>
                      <a:pt x="72" y="17"/>
                    </a:lnTo>
                    <a:lnTo>
                      <a:pt x="65" y="17"/>
                    </a:lnTo>
                    <a:lnTo>
                      <a:pt x="57" y="17"/>
                    </a:lnTo>
                    <a:lnTo>
                      <a:pt x="50" y="19"/>
                    </a:lnTo>
                    <a:lnTo>
                      <a:pt x="44" y="22"/>
                    </a:lnTo>
                    <a:lnTo>
                      <a:pt x="38" y="27"/>
                    </a:lnTo>
                    <a:lnTo>
                      <a:pt x="33" y="32"/>
                    </a:lnTo>
                    <a:lnTo>
                      <a:pt x="29" y="38"/>
                    </a:lnTo>
                    <a:lnTo>
                      <a:pt x="27" y="46"/>
                    </a:lnTo>
                    <a:lnTo>
                      <a:pt x="24" y="54"/>
                    </a:lnTo>
                    <a:lnTo>
                      <a:pt x="0" y="5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29" name="Freeform 28"/>
              <p:cNvSpPr>
                <a:spLocks/>
              </p:cNvSpPr>
              <p:nvPr/>
            </p:nvSpPr>
            <p:spPr bwMode="auto">
              <a:xfrm>
                <a:off x="1003" y="629"/>
                <a:ext cx="116" cy="54"/>
              </a:xfrm>
              <a:custGeom>
                <a:avLst/>
                <a:gdLst>
                  <a:gd name="T0" fmla="*/ 1 w 116"/>
                  <a:gd name="T1" fmla="*/ 0 h 54"/>
                  <a:gd name="T2" fmla="*/ 1 w 116"/>
                  <a:gd name="T3" fmla="*/ 5 h 54"/>
                  <a:gd name="T4" fmla="*/ 0 w 116"/>
                  <a:gd name="T5" fmla="*/ 10 h 54"/>
                  <a:gd name="T6" fmla="*/ 0 w 116"/>
                  <a:gd name="T7" fmla="*/ 16 h 54"/>
                  <a:gd name="T8" fmla="*/ 1 w 116"/>
                  <a:gd name="T9" fmla="*/ 21 h 54"/>
                  <a:gd name="T10" fmla="*/ 2 w 116"/>
                  <a:gd name="T11" fmla="*/ 25 h 54"/>
                  <a:gd name="T12" fmla="*/ 4 w 116"/>
                  <a:gd name="T13" fmla="*/ 29 h 54"/>
                  <a:gd name="T14" fmla="*/ 6 w 116"/>
                  <a:gd name="T15" fmla="*/ 33 h 54"/>
                  <a:gd name="T16" fmla="*/ 9 w 116"/>
                  <a:gd name="T17" fmla="*/ 37 h 54"/>
                  <a:gd name="T18" fmla="*/ 12 w 116"/>
                  <a:gd name="T19" fmla="*/ 41 h 54"/>
                  <a:gd name="T20" fmla="*/ 16 w 116"/>
                  <a:gd name="T21" fmla="*/ 44 h 54"/>
                  <a:gd name="T22" fmla="*/ 20 w 116"/>
                  <a:gd name="T23" fmla="*/ 47 h 54"/>
                  <a:gd name="T24" fmla="*/ 24 w 116"/>
                  <a:gd name="T25" fmla="*/ 49 h 54"/>
                  <a:gd name="T26" fmla="*/ 29 w 116"/>
                  <a:gd name="T27" fmla="*/ 51 h 54"/>
                  <a:gd name="T28" fmla="*/ 35 w 116"/>
                  <a:gd name="T29" fmla="*/ 52 h 54"/>
                  <a:gd name="T30" fmla="*/ 40 w 116"/>
                  <a:gd name="T31" fmla="*/ 53 h 54"/>
                  <a:gd name="T32" fmla="*/ 47 w 116"/>
                  <a:gd name="T33" fmla="*/ 53 h 54"/>
                  <a:gd name="T34" fmla="*/ 53 w 116"/>
                  <a:gd name="T35" fmla="*/ 53 h 54"/>
                  <a:gd name="T36" fmla="*/ 59 w 116"/>
                  <a:gd name="T37" fmla="*/ 52 h 54"/>
                  <a:gd name="T38" fmla="*/ 65 w 116"/>
                  <a:gd name="T39" fmla="*/ 51 h 54"/>
                  <a:gd name="T40" fmla="*/ 70 w 116"/>
                  <a:gd name="T41" fmla="*/ 50 h 54"/>
                  <a:gd name="T42" fmla="*/ 76 w 116"/>
                  <a:gd name="T43" fmla="*/ 48 h 54"/>
                  <a:gd name="T44" fmla="*/ 81 w 116"/>
                  <a:gd name="T45" fmla="*/ 46 h 54"/>
                  <a:gd name="T46" fmla="*/ 86 w 116"/>
                  <a:gd name="T47" fmla="*/ 44 h 54"/>
                  <a:gd name="T48" fmla="*/ 90 w 116"/>
                  <a:gd name="T49" fmla="*/ 40 h 54"/>
                  <a:gd name="T50" fmla="*/ 94 w 116"/>
                  <a:gd name="T51" fmla="*/ 37 h 54"/>
                  <a:gd name="T52" fmla="*/ 98 w 116"/>
                  <a:gd name="T53" fmla="*/ 33 h 54"/>
                  <a:gd name="T54" fmla="*/ 102 w 116"/>
                  <a:gd name="T55" fmla="*/ 29 h 54"/>
                  <a:gd name="T56" fmla="*/ 105 w 116"/>
                  <a:gd name="T57" fmla="*/ 24 h 54"/>
                  <a:gd name="T58" fmla="*/ 108 w 116"/>
                  <a:gd name="T59" fmla="*/ 19 h 54"/>
                  <a:gd name="T60" fmla="*/ 111 w 116"/>
                  <a:gd name="T61" fmla="*/ 13 h 54"/>
                  <a:gd name="T62" fmla="*/ 113 w 116"/>
                  <a:gd name="T63" fmla="*/ 7 h 54"/>
                  <a:gd name="T64" fmla="*/ 115 w 116"/>
                  <a:gd name="T65" fmla="*/ 0 h 54"/>
                  <a:gd name="T66" fmla="*/ 91 w 116"/>
                  <a:gd name="T67" fmla="*/ 0 h 54"/>
                  <a:gd name="T68" fmla="*/ 88 w 116"/>
                  <a:gd name="T69" fmla="*/ 8 h 54"/>
                  <a:gd name="T70" fmla="*/ 85 w 116"/>
                  <a:gd name="T71" fmla="*/ 15 h 54"/>
                  <a:gd name="T72" fmla="*/ 82 w 116"/>
                  <a:gd name="T73" fmla="*/ 22 h 54"/>
                  <a:gd name="T74" fmla="*/ 77 w 116"/>
                  <a:gd name="T75" fmla="*/ 27 h 54"/>
                  <a:gd name="T76" fmla="*/ 71 w 116"/>
                  <a:gd name="T77" fmla="*/ 31 h 54"/>
                  <a:gd name="T78" fmla="*/ 65 w 116"/>
                  <a:gd name="T79" fmla="*/ 34 h 54"/>
                  <a:gd name="T80" fmla="*/ 58 w 116"/>
                  <a:gd name="T81" fmla="*/ 36 h 54"/>
                  <a:gd name="T82" fmla="*/ 50 w 116"/>
                  <a:gd name="T83" fmla="*/ 37 h 54"/>
                  <a:gd name="T84" fmla="*/ 42 w 116"/>
                  <a:gd name="T85" fmla="*/ 36 h 54"/>
                  <a:gd name="T86" fmla="*/ 36 w 116"/>
                  <a:gd name="T87" fmla="*/ 33 h 54"/>
                  <a:gd name="T88" fmla="*/ 31 w 116"/>
                  <a:gd name="T89" fmla="*/ 30 h 54"/>
                  <a:gd name="T90" fmla="*/ 28 w 116"/>
                  <a:gd name="T91" fmla="*/ 26 h 54"/>
                  <a:gd name="T92" fmla="*/ 25 w 116"/>
                  <a:gd name="T93" fmla="*/ 20 h 54"/>
                  <a:gd name="T94" fmla="*/ 24 w 116"/>
                  <a:gd name="T95" fmla="*/ 14 h 54"/>
                  <a:gd name="T96" fmla="*/ 24 w 116"/>
                  <a:gd name="T97" fmla="*/ 7 h 54"/>
                  <a:gd name="T98" fmla="*/ 25 w 116"/>
                  <a:gd name="T99" fmla="*/ 0 h 54"/>
                  <a:gd name="T100" fmla="*/ 1 w 116"/>
                  <a:gd name="T101" fmla="*/ 0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16" h="54">
                    <a:moveTo>
                      <a:pt x="1" y="0"/>
                    </a:moveTo>
                    <a:lnTo>
                      <a:pt x="1" y="5"/>
                    </a:lnTo>
                    <a:lnTo>
                      <a:pt x="0" y="10"/>
                    </a:lnTo>
                    <a:lnTo>
                      <a:pt x="0" y="16"/>
                    </a:lnTo>
                    <a:lnTo>
                      <a:pt x="1" y="21"/>
                    </a:lnTo>
                    <a:lnTo>
                      <a:pt x="2" y="25"/>
                    </a:lnTo>
                    <a:lnTo>
                      <a:pt x="4" y="29"/>
                    </a:lnTo>
                    <a:lnTo>
                      <a:pt x="6" y="33"/>
                    </a:lnTo>
                    <a:lnTo>
                      <a:pt x="9" y="37"/>
                    </a:lnTo>
                    <a:lnTo>
                      <a:pt x="12" y="41"/>
                    </a:lnTo>
                    <a:lnTo>
                      <a:pt x="16" y="44"/>
                    </a:lnTo>
                    <a:lnTo>
                      <a:pt x="20" y="47"/>
                    </a:lnTo>
                    <a:lnTo>
                      <a:pt x="24" y="49"/>
                    </a:lnTo>
                    <a:lnTo>
                      <a:pt x="29" y="51"/>
                    </a:lnTo>
                    <a:lnTo>
                      <a:pt x="35" y="52"/>
                    </a:lnTo>
                    <a:lnTo>
                      <a:pt x="40" y="53"/>
                    </a:lnTo>
                    <a:lnTo>
                      <a:pt x="47" y="53"/>
                    </a:lnTo>
                    <a:lnTo>
                      <a:pt x="53" y="53"/>
                    </a:lnTo>
                    <a:lnTo>
                      <a:pt x="59" y="52"/>
                    </a:lnTo>
                    <a:lnTo>
                      <a:pt x="65" y="51"/>
                    </a:lnTo>
                    <a:lnTo>
                      <a:pt x="70" y="50"/>
                    </a:lnTo>
                    <a:lnTo>
                      <a:pt x="76" y="48"/>
                    </a:lnTo>
                    <a:lnTo>
                      <a:pt x="81" y="46"/>
                    </a:lnTo>
                    <a:lnTo>
                      <a:pt x="86" y="44"/>
                    </a:lnTo>
                    <a:lnTo>
                      <a:pt x="90" y="40"/>
                    </a:lnTo>
                    <a:lnTo>
                      <a:pt x="94" y="37"/>
                    </a:lnTo>
                    <a:lnTo>
                      <a:pt x="98" y="33"/>
                    </a:lnTo>
                    <a:lnTo>
                      <a:pt x="102" y="29"/>
                    </a:lnTo>
                    <a:lnTo>
                      <a:pt x="105" y="24"/>
                    </a:lnTo>
                    <a:lnTo>
                      <a:pt x="108" y="19"/>
                    </a:lnTo>
                    <a:lnTo>
                      <a:pt x="111" y="13"/>
                    </a:lnTo>
                    <a:lnTo>
                      <a:pt x="113" y="7"/>
                    </a:lnTo>
                    <a:lnTo>
                      <a:pt x="115" y="0"/>
                    </a:lnTo>
                    <a:lnTo>
                      <a:pt x="91" y="0"/>
                    </a:lnTo>
                    <a:lnTo>
                      <a:pt x="88" y="8"/>
                    </a:lnTo>
                    <a:lnTo>
                      <a:pt x="85" y="15"/>
                    </a:lnTo>
                    <a:lnTo>
                      <a:pt x="82" y="22"/>
                    </a:lnTo>
                    <a:lnTo>
                      <a:pt x="77" y="27"/>
                    </a:lnTo>
                    <a:lnTo>
                      <a:pt x="71" y="31"/>
                    </a:lnTo>
                    <a:lnTo>
                      <a:pt x="65" y="34"/>
                    </a:lnTo>
                    <a:lnTo>
                      <a:pt x="58" y="36"/>
                    </a:lnTo>
                    <a:lnTo>
                      <a:pt x="50" y="37"/>
                    </a:lnTo>
                    <a:lnTo>
                      <a:pt x="42" y="36"/>
                    </a:lnTo>
                    <a:lnTo>
                      <a:pt x="36" y="33"/>
                    </a:lnTo>
                    <a:lnTo>
                      <a:pt x="31" y="30"/>
                    </a:lnTo>
                    <a:lnTo>
                      <a:pt x="28" y="26"/>
                    </a:lnTo>
                    <a:lnTo>
                      <a:pt x="25" y="20"/>
                    </a:lnTo>
                    <a:lnTo>
                      <a:pt x="24" y="14"/>
                    </a:lnTo>
                    <a:lnTo>
                      <a:pt x="24" y="7"/>
                    </a:lnTo>
                    <a:lnTo>
                      <a:pt x="25" y="0"/>
                    </a:lnTo>
                    <a:lnTo>
                      <a:pt x="1" y="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0" name="Freeform 29"/>
              <p:cNvSpPr>
                <a:spLocks/>
              </p:cNvSpPr>
              <p:nvPr/>
            </p:nvSpPr>
            <p:spPr bwMode="auto">
              <a:xfrm>
                <a:off x="1118" y="575"/>
                <a:ext cx="92" cy="104"/>
              </a:xfrm>
              <a:custGeom>
                <a:avLst/>
                <a:gdLst>
                  <a:gd name="T0" fmla="*/ 55 w 93"/>
                  <a:gd name="T1" fmla="*/ 17 h 105"/>
                  <a:gd name="T2" fmla="*/ 50 w 93"/>
                  <a:gd name="T3" fmla="*/ 17 h 105"/>
                  <a:gd name="T4" fmla="*/ 46 w 93"/>
                  <a:gd name="T5" fmla="*/ 17 h 105"/>
                  <a:gd name="T6" fmla="*/ 46 w 93"/>
                  <a:gd name="T7" fmla="*/ 17 h 105"/>
                  <a:gd name="T8" fmla="*/ 46 w 93"/>
                  <a:gd name="T9" fmla="*/ 17 h 105"/>
                  <a:gd name="T10" fmla="*/ 46 w 93"/>
                  <a:gd name="T11" fmla="*/ 18 h 105"/>
                  <a:gd name="T12" fmla="*/ 46 w 93"/>
                  <a:gd name="T13" fmla="*/ 20 h 105"/>
                  <a:gd name="T14" fmla="*/ 44 w 93"/>
                  <a:gd name="T15" fmla="*/ 22 h 105"/>
                  <a:gd name="T16" fmla="*/ 43 w 93"/>
                  <a:gd name="T17" fmla="*/ 27 h 105"/>
                  <a:gd name="T18" fmla="*/ 46 w 93"/>
                  <a:gd name="T19" fmla="*/ 33 h 105"/>
                  <a:gd name="T20" fmla="*/ 46 w 93"/>
                  <a:gd name="T21" fmla="*/ 39 h 105"/>
                  <a:gd name="T22" fmla="*/ 46 w 93"/>
                  <a:gd name="T23" fmla="*/ 45 h 105"/>
                  <a:gd name="T24" fmla="*/ 46 w 93"/>
                  <a:gd name="T25" fmla="*/ 51 h 105"/>
                  <a:gd name="T26" fmla="*/ 46 w 93"/>
                  <a:gd name="T27" fmla="*/ 52 h 105"/>
                  <a:gd name="T28" fmla="*/ 47 w 93"/>
                  <a:gd name="T29" fmla="*/ 52 h 105"/>
                  <a:gd name="T30" fmla="*/ 49 w 93"/>
                  <a:gd name="T31" fmla="*/ 52 h 105"/>
                  <a:gd name="T32" fmla="*/ 48 w 93"/>
                  <a:gd name="T33" fmla="*/ 52 h 105"/>
                  <a:gd name="T34" fmla="*/ 46 w 93"/>
                  <a:gd name="T35" fmla="*/ 61 h 105"/>
                  <a:gd name="T36" fmla="*/ 46 w 93"/>
                  <a:gd name="T37" fmla="*/ 68 h 105"/>
                  <a:gd name="T38" fmla="*/ 46 w 93"/>
                  <a:gd name="T39" fmla="*/ 71 h 105"/>
                  <a:gd name="T40" fmla="*/ 0 w 93"/>
                  <a:gd name="T41" fmla="*/ 72 h 105"/>
                  <a:gd name="T42" fmla="*/ 33 w 93"/>
                  <a:gd name="T43" fmla="*/ 55 h 105"/>
                  <a:gd name="T44" fmla="*/ 40 w 93"/>
                  <a:gd name="T45" fmla="*/ 55 h 105"/>
                  <a:gd name="T46" fmla="*/ 46 w 93"/>
                  <a:gd name="T47" fmla="*/ 54 h 105"/>
                  <a:gd name="T48" fmla="*/ 46 w 93"/>
                  <a:gd name="T49" fmla="*/ 52 h 105"/>
                  <a:gd name="T50" fmla="*/ 46 w 93"/>
                  <a:gd name="T51" fmla="*/ 52 h 105"/>
                  <a:gd name="T52" fmla="*/ 46 w 93"/>
                  <a:gd name="T53" fmla="*/ 52 h 105"/>
                  <a:gd name="T54" fmla="*/ 46 w 93"/>
                  <a:gd name="T55" fmla="*/ 52 h 105"/>
                  <a:gd name="T56" fmla="*/ 43 w 93"/>
                  <a:gd name="T57" fmla="*/ 52 h 105"/>
                  <a:gd name="T58" fmla="*/ 36 w 93"/>
                  <a:gd name="T59" fmla="*/ 52 h 105"/>
                  <a:gd name="T60" fmla="*/ 28 w 93"/>
                  <a:gd name="T61" fmla="*/ 49 h 105"/>
                  <a:gd name="T62" fmla="*/ 22 w 93"/>
                  <a:gd name="T63" fmla="*/ 41 h 105"/>
                  <a:gd name="T64" fmla="*/ 17 w 93"/>
                  <a:gd name="T65" fmla="*/ 33 h 105"/>
                  <a:gd name="T66" fmla="*/ 17 w 93"/>
                  <a:gd name="T67" fmla="*/ 25 h 105"/>
                  <a:gd name="T68" fmla="*/ 20 w 93"/>
                  <a:gd name="T69" fmla="*/ 14 h 105"/>
                  <a:gd name="T70" fmla="*/ 29 w 93"/>
                  <a:gd name="T71" fmla="*/ 7 h 105"/>
                  <a:gd name="T72" fmla="*/ 42 w 93"/>
                  <a:gd name="T73" fmla="*/ 2 h 105"/>
                  <a:gd name="T74" fmla="*/ 46 w 93"/>
                  <a:gd name="T75" fmla="*/ 0 h 105"/>
                  <a:gd name="T76" fmla="*/ 46 w 93"/>
                  <a:gd name="T77" fmla="*/ 0 h 105"/>
                  <a:gd name="T78" fmla="*/ 46 w 93"/>
                  <a:gd name="T79" fmla="*/ 0 h 105"/>
                  <a:gd name="T80" fmla="*/ 55 w 93"/>
                  <a:gd name="T81" fmla="*/ 0 h 105"/>
                  <a:gd name="T82" fmla="*/ 60 w 93"/>
                  <a:gd name="T83" fmla="*/ 0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105">
                    <a:moveTo>
                      <a:pt x="88" y="17"/>
                    </a:moveTo>
                    <a:lnTo>
                      <a:pt x="87" y="17"/>
                    </a:lnTo>
                    <a:lnTo>
                      <a:pt x="85" y="17"/>
                    </a:lnTo>
                    <a:lnTo>
                      <a:pt x="82" y="17"/>
                    </a:lnTo>
                    <a:lnTo>
                      <a:pt x="79" y="17"/>
                    </a:lnTo>
                    <a:lnTo>
                      <a:pt x="74" y="17"/>
                    </a:lnTo>
                    <a:lnTo>
                      <a:pt x="70" y="17"/>
                    </a:lnTo>
                    <a:lnTo>
                      <a:pt x="66" y="17"/>
                    </a:lnTo>
                    <a:lnTo>
                      <a:pt x="63" y="17"/>
                    </a:lnTo>
                    <a:lnTo>
                      <a:pt x="58" y="17"/>
                    </a:lnTo>
                    <a:lnTo>
                      <a:pt x="54" y="17"/>
                    </a:lnTo>
                    <a:lnTo>
                      <a:pt x="51" y="18"/>
                    </a:lnTo>
                    <a:lnTo>
                      <a:pt x="48" y="19"/>
                    </a:lnTo>
                    <a:lnTo>
                      <a:pt x="46" y="20"/>
                    </a:lnTo>
                    <a:lnTo>
                      <a:pt x="45" y="21"/>
                    </a:lnTo>
                    <a:lnTo>
                      <a:pt x="44" y="22"/>
                    </a:lnTo>
                    <a:lnTo>
                      <a:pt x="43" y="24"/>
                    </a:lnTo>
                    <a:lnTo>
                      <a:pt x="43" y="27"/>
                    </a:lnTo>
                    <a:lnTo>
                      <a:pt x="44" y="30"/>
                    </a:lnTo>
                    <a:lnTo>
                      <a:pt x="46" y="33"/>
                    </a:lnTo>
                    <a:lnTo>
                      <a:pt x="48" y="36"/>
                    </a:lnTo>
                    <a:lnTo>
                      <a:pt x="51" y="39"/>
                    </a:lnTo>
                    <a:lnTo>
                      <a:pt x="54" y="42"/>
                    </a:lnTo>
                    <a:lnTo>
                      <a:pt x="58" y="45"/>
                    </a:lnTo>
                    <a:lnTo>
                      <a:pt x="62" y="49"/>
                    </a:lnTo>
                    <a:lnTo>
                      <a:pt x="66" y="51"/>
                    </a:lnTo>
                    <a:lnTo>
                      <a:pt x="70" y="55"/>
                    </a:lnTo>
                    <a:lnTo>
                      <a:pt x="74" y="59"/>
                    </a:lnTo>
                    <a:lnTo>
                      <a:pt x="77" y="62"/>
                    </a:lnTo>
                    <a:lnTo>
                      <a:pt x="79" y="66"/>
                    </a:lnTo>
                    <a:lnTo>
                      <a:pt x="81" y="70"/>
                    </a:lnTo>
                    <a:lnTo>
                      <a:pt x="81" y="75"/>
                    </a:lnTo>
                    <a:lnTo>
                      <a:pt x="81" y="79"/>
                    </a:lnTo>
                    <a:lnTo>
                      <a:pt x="80" y="84"/>
                    </a:lnTo>
                    <a:lnTo>
                      <a:pt x="78" y="89"/>
                    </a:lnTo>
                    <a:lnTo>
                      <a:pt x="74" y="93"/>
                    </a:lnTo>
                    <a:lnTo>
                      <a:pt x="69" y="97"/>
                    </a:lnTo>
                    <a:lnTo>
                      <a:pt x="63" y="100"/>
                    </a:lnTo>
                    <a:lnTo>
                      <a:pt x="55" y="102"/>
                    </a:lnTo>
                    <a:lnTo>
                      <a:pt x="46" y="103"/>
                    </a:lnTo>
                    <a:lnTo>
                      <a:pt x="36" y="104"/>
                    </a:lnTo>
                    <a:lnTo>
                      <a:pt x="0" y="104"/>
                    </a:lnTo>
                    <a:lnTo>
                      <a:pt x="4" y="87"/>
                    </a:lnTo>
                    <a:lnTo>
                      <a:pt x="33" y="87"/>
                    </a:lnTo>
                    <a:lnTo>
                      <a:pt x="36" y="87"/>
                    </a:lnTo>
                    <a:lnTo>
                      <a:pt x="40" y="87"/>
                    </a:lnTo>
                    <a:lnTo>
                      <a:pt x="43" y="87"/>
                    </a:lnTo>
                    <a:lnTo>
                      <a:pt x="46" y="86"/>
                    </a:lnTo>
                    <a:lnTo>
                      <a:pt x="49" y="86"/>
                    </a:lnTo>
                    <a:lnTo>
                      <a:pt x="51" y="84"/>
                    </a:lnTo>
                    <a:lnTo>
                      <a:pt x="53" y="82"/>
                    </a:lnTo>
                    <a:lnTo>
                      <a:pt x="55" y="79"/>
                    </a:lnTo>
                    <a:lnTo>
                      <a:pt x="55" y="76"/>
                    </a:lnTo>
                    <a:lnTo>
                      <a:pt x="54" y="73"/>
                    </a:lnTo>
                    <a:lnTo>
                      <a:pt x="52" y="71"/>
                    </a:lnTo>
                    <a:lnTo>
                      <a:pt x="50" y="68"/>
                    </a:lnTo>
                    <a:lnTo>
                      <a:pt x="47" y="65"/>
                    </a:lnTo>
                    <a:lnTo>
                      <a:pt x="43" y="62"/>
                    </a:lnTo>
                    <a:lnTo>
                      <a:pt x="40" y="59"/>
                    </a:lnTo>
                    <a:lnTo>
                      <a:pt x="36" y="55"/>
                    </a:lnTo>
                    <a:lnTo>
                      <a:pt x="32" y="52"/>
                    </a:lnTo>
                    <a:lnTo>
                      <a:pt x="28" y="49"/>
                    </a:lnTo>
                    <a:lnTo>
                      <a:pt x="25" y="45"/>
                    </a:lnTo>
                    <a:lnTo>
                      <a:pt x="22" y="41"/>
                    </a:lnTo>
                    <a:lnTo>
                      <a:pt x="19" y="37"/>
                    </a:lnTo>
                    <a:lnTo>
                      <a:pt x="17" y="33"/>
                    </a:lnTo>
                    <a:lnTo>
                      <a:pt x="16" y="29"/>
                    </a:lnTo>
                    <a:lnTo>
                      <a:pt x="17" y="25"/>
                    </a:lnTo>
                    <a:lnTo>
                      <a:pt x="18" y="19"/>
                    </a:lnTo>
                    <a:lnTo>
                      <a:pt x="20" y="14"/>
                    </a:lnTo>
                    <a:lnTo>
                      <a:pt x="24" y="10"/>
                    </a:lnTo>
                    <a:lnTo>
                      <a:pt x="29" y="7"/>
                    </a:lnTo>
                    <a:lnTo>
                      <a:pt x="35" y="4"/>
                    </a:lnTo>
                    <a:lnTo>
                      <a:pt x="42" y="2"/>
                    </a:lnTo>
                    <a:lnTo>
                      <a:pt x="50" y="1"/>
                    </a:lnTo>
                    <a:lnTo>
                      <a:pt x="60" y="0"/>
                    </a:lnTo>
                    <a:lnTo>
                      <a:pt x="61" y="0"/>
                    </a:lnTo>
                    <a:lnTo>
                      <a:pt x="65" y="0"/>
                    </a:lnTo>
                    <a:lnTo>
                      <a:pt x="70" y="0"/>
                    </a:lnTo>
                    <a:lnTo>
                      <a:pt x="76" y="0"/>
                    </a:lnTo>
                    <a:lnTo>
                      <a:pt x="82" y="0"/>
                    </a:lnTo>
                    <a:lnTo>
                      <a:pt x="87" y="0"/>
                    </a:lnTo>
                    <a:lnTo>
                      <a:pt x="91"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1" name="Freeform 30"/>
              <p:cNvSpPr>
                <a:spLocks/>
              </p:cNvSpPr>
              <p:nvPr/>
            </p:nvSpPr>
            <p:spPr bwMode="auto">
              <a:xfrm>
                <a:off x="1219" y="575"/>
                <a:ext cx="92" cy="104"/>
              </a:xfrm>
              <a:custGeom>
                <a:avLst/>
                <a:gdLst>
                  <a:gd name="T0" fmla="*/ 87 w 92"/>
                  <a:gd name="T1" fmla="*/ 17 h 105"/>
                  <a:gd name="T2" fmla="*/ 55 w 92"/>
                  <a:gd name="T3" fmla="*/ 17 h 105"/>
                  <a:gd name="T4" fmla="*/ 37 w 92"/>
                  <a:gd name="T5" fmla="*/ 72 h 105"/>
                  <a:gd name="T6" fmla="*/ 14 w 92"/>
                  <a:gd name="T7" fmla="*/ 72 h 105"/>
                  <a:gd name="T8" fmla="*/ 32 w 92"/>
                  <a:gd name="T9" fmla="*/ 17 h 105"/>
                  <a:gd name="T10" fmla="*/ 0 w 92"/>
                  <a:gd name="T11" fmla="*/ 17 h 105"/>
                  <a:gd name="T12" fmla="*/ 4 w 92"/>
                  <a:gd name="T13" fmla="*/ 0 h 105"/>
                  <a:gd name="T14" fmla="*/ 91 w 92"/>
                  <a:gd name="T15" fmla="*/ 0 h 105"/>
                  <a:gd name="T16" fmla="*/ 87 w 92"/>
                  <a:gd name="T17" fmla="*/ 17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05">
                    <a:moveTo>
                      <a:pt x="87" y="17"/>
                    </a:moveTo>
                    <a:lnTo>
                      <a:pt x="55" y="17"/>
                    </a:lnTo>
                    <a:lnTo>
                      <a:pt x="37" y="104"/>
                    </a:lnTo>
                    <a:lnTo>
                      <a:pt x="14" y="104"/>
                    </a:lnTo>
                    <a:lnTo>
                      <a:pt x="32" y="17"/>
                    </a:lnTo>
                    <a:lnTo>
                      <a:pt x="0" y="17"/>
                    </a:lnTo>
                    <a:lnTo>
                      <a:pt x="4" y="0"/>
                    </a:lnTo>
                    <a:lnTo>
                      <a:pt x="91" y="0"/>
                    </a:lnTo>
                    <a:lnTo>
                      <a:pt x="87"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2" name="Freeform 31"/>
              <p:cNvSpPr>
                <a:spLocks/>
              </p:cNvSpPr>
              <p:nvPr/>
            </p:nvSpPr>
            <p:spPr bwMode="auto">
              <a:xfrm>
                <a:off x="1276" y="575"/>
                <a:ext cx="107" cy="104"/>
              </a:xfrm>
              <a:custGeom>
                <a:avLst/>
                <a:gdLst>
                  <a:gd name="T0" fmla="*/ 37 w 107"/>
                  <a:gd name="T1" fmla="*/ 72 h 105"/>
                  <a:gd name="T2" fmla="*/ 46 w 107"/>
                  <a:gd name="T3" fmla="*/ 55 h 105"/>
                  <a:gd name="T4" fmla="*/ 80 w 107"/>
                  <a:gd name="T5" fmla="*/ 55 h 105"/>
                  <a:gd name="T6" fmla="*/ 70 w 107"/>
                  <a:gd name="T7" fmla="*/ 21 h 105"/>
                  <a:gd name="T8" fmla="*/ 24 w 107"/>
                  <a:gd name="T9" fmla="*/ 72 h 105"/>
                  <a:gd name="T10" fmla="*/ 0 w 107"/>
                  <a:gd name="T11" fmla="*/ 72 h 105"/>
                  <a:gd name="T12" fmla="*/ 61 w 107"/>
                  <a:gd name="T13" fmla="*/ 0 h 105"/>
                  <a:gd name="T14" fmla="*/ 89 w 107"/>
                  <a:gd name="T15" fmla="*/ 0 h 105"/>
                  <a:gd name="T16" fmla="*/ 106 w 107"/>
                  <a:gd name="T17" fmla="*/ 72 h 105"/>
                  <a:gd name="T18" fmla="*/ 37 w 107"/>
                  <a:gd name="T19" fmla="*/ 72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 h="105">
                    <a:moveTo>
                      <a:pt x="37" y="104"/>
                    </a:moveTo>
                    <a:lnTo>
                      <a:pt x="46" y="87"/>
                    </a:lnTo>
                    <a:lnTo>
                      <a:pt x="80" y="87"/>
                    </a:lnTo>
                    <a:lnTo>
                      <a:pt x="70" y="21"/>
                    </a:lnTo>
                    <a:lnTo>
                      <a:pt x="24" y="104"/>
                    </a:lnTo>
                    <a:lnTo>
                      <a:pt x="0" y="104"/>
                    </a:lnTo>
                    <a:lnTo>
                      <a:pt x="61" y="0"/>
                    </a:lnTo>
                    <a:lnTo>
                      <a:pt x="89" y="0"/>
                    </a:lnTo>
                    <a:lnTo>
                      <a:pt x="106" y="104"/>
                    </a:lnTo>
                    <a:lnTo>
                      <a:pt x="37"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3" name="Freeform 32"/>
              <p:cNvSpPr>
                <a:spLocks/>
              </p:cNvSpPr>
              <p:nvPr/>
            </p:nvSpPr>
            <p:spPr bwMode="auto">
              <a:xfrm>
                <a:off x="1396" y="575"/>
                <a:ext cx="76" cy="104"/>
              </a:xfrm>
              <a:custGeom>
                <a:avLst/>
                <a:gdLst>
                  <a:gd name="T0" fmla="*/ 71 w 76"/>
                  <a:gd name="T1" fmla="*/ 72 h 105"/>
                  <a:gd name="T2" fmla="*/ 0 w 76"/>
                  <a:gd name="T3" fmla="*/ 72 h 105"/>
                  <a:gd name="T4" fmla="*/ 22 w 76"/>
                  <a:gd name="T5" fmla="*/ 0 h 105"/>
                  <a:gd name="T6" fmla="*/ 46 w 76"/>
                  <a:gd name="T7" fmla="*/ 0 h 105"/>
                  <a:gd name="T8" fmla="*/ 27 w 76"/>
                  <a:gd name="T9" fmla="*/ 55 h 105"/>
                  <a:gd name="T10" fmla="*/ 75 w 76"/>
                  <a:gd name="T11" fmla="*/ 55 h 105"/>
                  <a:gd name="T12" fmla="*/ 71 w 76"/>
                  <a:gd name="T13" fmla="*/ 72 h 10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6" h="105">
                    <a:moveTo>
                      <a:pt x="71" y="104"/>
                    </a:moveTo>
                    <a:lnTo>
                      <a:pt x="0" y="104"/>
                    </a:lnTo>
                    <a:lnTo>
                      <a:pt x="22" y="0"/>
                    </a:lnTo>
                    <a:lnTo>
                      <a:pt x="46" y="0"/>
                    </a:lnTo>
                    <a:lnTo>
                      <a:pt x="27" y="87"/>
                    </a:lnTo>
                    <a:lnTo>
                      <a:pt x="75" y="87"/>
                    </a:lnTo>
                    <a:lnTo>
                      <a:pt x="71"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4" name="Freeform 33"/>
              <p:cNvSpPr>
                <a:spLocks/>
              </p:cNvSpPr>
              <p:nvPr/>
            </p:nvSpPr>
            <p:spPr bwMode="auto">
              <a:xfrm>
                <a:off x="1510" y="575"/>
                <a:ext cx="92" cy="104"/>
              </a:xfrm>
              <a:custGeom>
                <a:avLst/>
                <a:gdLst>
                  <a:gd name="T0" fmla="*/ 55 w 93"/>
                  <a:gd name="T1" fmla="*/ 17 h 105"/>
                  <a:gd name="T2" fmla="*/ 50 w 93"/>
                  <a:gd name="T3" fmla="*/ 17 h 105"/>
                  <a:gd name="T4" fmla="*/ 46 w 93"/>
                  <a:gd name="T5" fmla="*/ 17 h 105"/>
                  <a:gd name="T6" fmla="*/ 46 w 93"/>
                  <a:gd name="T7" fmla="*/ 17 h 105"/>
                  <a:gd name="T8" fmla="*/ 46 w 93"/>
                  <a:gd name="T9" fmla="*/ 17 h 105"/>
                  <a:gd name="T10" fmla="*/ 46 w 93"/>
                  <a:gd name="T11" fmla="*/ 18 h 105"/>
                  <a:gd name="T12" fmla="*/ 46 w 93"/>
                  <a:gd name="T13" fmla="*/ 20 h 105"/>
                  <a:gd name="T14" fmla="*/ 44 w 93"/>
                  <a:gd name="T15" fmla="*/ 22 h 105"/>
                  <a:gd name="T16" fmla="*/ 43 w 93"/>
                  <a:gd name="T17" fmla="*/ 27 h 105"/>
                  <a:gd name="T18" fmla="*/ 45 w 93"/>
                  <a:gd name="T19" fmla="*/ 33 h 105"/>
                  <a:gd name="T20" fmla="*/ 46 w 93"/>
                  <a:gd name="T21" fmla="*/ 39 h 105"/>
                  <a:gd name="T22" fmla="*/ 46 w 93"/>
                  <a:gd name="T23" fmla="*/ 45 h 105"/>
                  <a:gd name="T24" fmla="*/ 46 w 93"/>
                  <a:gd name="T25" fmla="*/ 51 h 105"/>
                  <a:gd name="T26" fmla="*/ 46 w 93"/>
                  <a:gd name="T27" fmla="*/ 52 h 105"/>
                  <a:gd name="T28" fmla="*/ 47 w 93"/>
                  <a:gd name="T29" fmla="*/ 52 h 105"/>
                  <a:gd name="T30" fmla="*/ 50 w 93"/>
                  <a:gd name="T31" fmla="*/ 52 h 105"/>
                  <a:gd name="T32" fmla="*/ 48 w 93"/>
                  <a:gd name="T33" fmla="*/ 52 h 105"/>
                  <a:gd name="T34" fmla="*/ 46 w 93"/>
                  <a:gd name="T35" fmla="*/ 61 h 105"/>
                  <a:gd name="T36" fmla="*/ 46 w 93"/>
                  <a:gd name="T37" fmla="*/ 68 h 105"/>
                  <a:gd name="T38" fmla="*/ 46 w 93"/>
                  <a:gd name="T39" fmla="*/ 71 h 105"/>
                  <a:gd name="T40" fmla="*/ 0 w 93"/>
                  <a:gd name="T41" fmla="*/ 72 h 105"/>
                  <a:gd name="T42" fmla="*/ 33 w 93"/>
                  <a:gd name="T43" fmla="*/ 55 h 105"/>
                  <a:gd name="T44" fmla="*/ 40 w 93"/>
                  <a:gd name="T45" fmla="*/ 55 h 105"/>
                  <a:gd name="T46" fmla="*/ 46 w 93"/>
                  <a:gd name="T47" fmla="*/ 54 h 105"/>
                  <a:gd name="T48" fmla="*/ 46 w 93"/>
                  <a:gd name="T49" fmla="*/ 52 h 105"/>
                  <a:gd name="T50" fmla="*/ 46 w 93"/>
                  <a:gd name="T51" fmla="*/ 52 h 105"/>
                  <a:gd name="T52" fmla="*/ 46 w 93"/>
                  <a:gd name="T53" fmla="*/ 52 h 105"/>
                  <a:gd name="T54" fmla="*/ 46 w 93"/>
                  <a:gd name="T55" fmla="*/ 52 h 105"/>
                  <a:gd name="T56" fmla="*/ 43 w 93"/>
                  <a:gd name="T57" fmla="*/ 52 h 105"/>
                  <a:gd name="T58" fmla="*/ 36 w 93"/>
                  <a:gd name="T59" fmla="*/ 52 h 105"/>
                  <a:gd name="T60" fmla="*/ 28 w 93"/>
                  <a:gd name="T61" fmla="*/ 49 h 105"/>
                  <a:gd name="T62" fmla="*/ 22 w 93"/>
                  <a:gd name="T63" fmla="*/ 41 h 105"/>
                  <a:gd name="T64" fmla="*/ 17 w 93"/>
                  <a:gd name="T65" fmla="*/ 33 h 105"/>
                  <a:gd name="T66" fmla="*/ 16 w 93"/>
                  <a:gd name="T67" fmla="*/ 25 h 105"/>
                  <a:gd name="T68" fmla="*/ 20 w 93"/>
                  <a:gd name="T69" fmla="*/ 14 h 105"/>
                  <a:gd name="T70" fmla="*/ 28 w 93"/>
                  <a:gd name="T71" fmla="*/ 7 h 105"/>
                  <a:gd name="T72" fmla="*/ 42 w 93"/>
                  <a:gd name="T73" fmla="*/ 2 h 105"/>
                  <a:gd name="T74" fmla="*/ 46 w 93"/>
                  <a:gd name="T75" fmla="*/ 0 h 105"/>
                  <a:gd name="T76" fmla="*/ 46 w 93"/>
                  <a:gd name="T77" fmla="*/ 0 h 105"/>
                  <a:gd name="T78" fmla="*/ 46 w 93"/>
                  <a:gd name="T79" fmla="*/ 0 h 105"/>
                  <a:gd name="T80" fmla="*/ 55 w 93"/>
                  <a:gd name="T81" fmla="*/ 0 h 105"/>
                  <a:gd name="T82" fmla="*/ 60 w 93"/>
                  <a:gd name="T83" fmla="*/ 0 h 1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105">
                    <a:moveTo>
                      <a:pt x="88" y="17"/>
                    </a:moveTo>
                    <a:lnTo>
                      <a:pt x="87" y="17"/>
                    </a:lnTo>
                    <a:lnTo>
                      <a:pt x="85" y="17"/>
                    </a:lnTo>
                    <a:lnTo>
                      <a:pt x="82" y="17"/>
                    </a:lnTo>
                    <a:lnTo>
                      <a:pt x="79" y="17"/>
                    </a:lnTo>
                    <a:lnTo>
                      <a:pt x="75" y="17"/>
                    </a:lnTo>
                    <a:lnTo>
                      <a:pt x="70" y="17"/>
                    </a:lnTo>
                    <a:lnTo>
                      <a:pt x="66" y="17"/>
                    </a:lnTo>
                    <a:lnTo>
                      <a:pt x="63" y="17"/>
                    </a:lnTo>
                    <a:lnTo>
                      <a:pt x="58" y="17"/>
                    </a:lnTo>
                    <a:lnTo>
                      <a:pt x="54" y="17"/>
                    </a:lnTo>
                    <a:lnTo>
                      <a:pt x="51" y="18"/>
                    </a:lnTo>
                    <a:lnTo>
                      <a:pt x="49" y="19"/>
                    </a:lnTo>
                    <a:lnTo>
                      <a:pt x="46" y="20"/>
                    </a:lnTo>
                    <a:lnTo>
                      <a:pt x="45" y="21"/>
                    </a:lnTo>
                    <a:lnTo>
                      <a:pt x="44" y="22"/>
                    </a:lnTo>
                    <a:lnTo>
                      <a:pt x="43" y="24"/>
                    </a:lnTo>
                    <a:lnTo>
                      <a:pt x="43" y="27"/>
                    </a:lnTo>
                    <a:lnTo>
                      <a:pt x="44" y="30"/>
                    </a:lnTo>
                    <a:lnTo>
                      <a:pt x="45" y="33"/>
                    </a:lnTo>
                    <a:lnTo>
                      <a:pt x="48" y="36"/>
                    </a:lnTo>
                    <a:lnTo>
                      <a:pt x="51" y="39"/>
                    </a:lnTo>
                    <a:lnTo>
                      <a:pt x="54" y="42"/>
                    </a:lnTo>
                    <a:lnTo>
                      <a:pt x="58" y="45"/>
                    </a:lnTo>
                    <a:lnTo>
                      <a:pt x="62" y="49"/>
                    </a:lnTo>
                    <a:lnTo>
                      <a:pt x="66" y="51"/>
                    </a:lnTo>
                    <a:lnTo>
                      <a:pt x="70" y="55"/>
                    </a:lnTo>
                    <a:lnTo>
                      <a:pt x="74" y="59"/>
                    </a:lnTo>
                    <a:lnTo>
                      <a:pt x="77" y="62"/>
                    </a:lnTo>
                    <a:lnTo>
                      <a:pt x="79" y="66"/>
                    </a:lnTo>
                    <a:lnTo>
                      <a:pt x="81" y="70"/>
                    </a:lnTo>
                    <a:lnTo>
                      <a:pt x="82" y="75"/>
                    </a:lnTo>
                    <a:lnTo>
                      <a:pt x="81" y="79"/>
                    </a:lnTo>
                    <a:lnTo>
                      <a:pt x="80" y="84"/>
                    </a:lnTo>
                    <a:lnTo>
                      <a:pt x="78" y="89"/>
                    </a:lnTo>
                    <a:lnTo>
                      <a:pt x="74" y="93"/>
                    </a:lnTo>
                    <a:lnTo>
                      <a:pt x="69" y="97"/>
                    </a:lnTo>
                    <a:lnTo>
                      <a:pt x="63" y="100"/>
                    </a:lnTo>
                    <a:lnTo>
                      <a:pt x="56" y="102"/>
                    </a:lnTo>
                    <a:lnTo>
                      <a:pt x="47" y="103"/>
                    </a:lnTo>
                    <a:lnTo>
                      <a:pt x="36" y="104"/>
                    </a:lnTo>
                    <a:lnTo>
                      <a:pt x="0" y="104"/>
                    </a:lnTo>
                    <a:lnTo>
                      <a:pt x="4" y="87"/>
                    </a:lnTo>
                    <a:lnTo>
                      <a:pt x="33" y="87"/>
                    </a:lnTo>
                    <a:lnTo>
                      <a:pt x="36" y="87"/>
                    </a:lnTo>
                    <a:lnTo>
                      <a:pt x="40" y="87"/>
                    </a:lnTo>
                    <a:lnTo>
                      <a:pt x="43" y="87"/>
                    </a:lnTo>
                    <a:lnTo>
                      <a:pt x="47" y="86"/>
                    </a:lnTo>
                    <a:lnTo>
                      <a:pt x="49" y="86"/>
                    </a:lnTo>
                    <a:lnTo>
                      <a:pt x="52" y="84"/>
                    </a:lnTo>
                    <a:lnTo>
                      <a:pt x="54" y="82"/>
                    </a:lnTo>
                    <a:lnTo>
                      <a:pt x="55" y="79"/>
                    </a:lnTo>
                    <a:lnTo>
                      <a:pt x="55" y="76"/>
                    </a:lnTo>
                    <a:lnTo>
                      <a:pt x="54" y="73"/>
                    </a:lnTo>
                    <a:lnTo>
                      <a:pt x="52" y="71"/>
                    </a:lnTo>
                    <a:lnTo>
                      <a:pt x="50" y="68"/>
                    </a:lnTo>
                    <a:lnTo>
                      <a:pt x="47" y="65"/>
                    </a:lnTo>
                    <a:lnTo>
                      <a:pt x="43" y="62"/>
                    </a:lnTo>
                    <a:lnTo>
                      <a:pt x="40" y="59"/>
                    </a:lnTo>
                    <a:lnTo>
                      <a:pt x="36" y="55"/>
                    </a:lnTo>
                    <a:lnTo>
                      <a:pt x="32" y="52"/>
                    </a:lnTo>
                    <a:lnTo>
                      <a:pt x="28" y="49"/>
                    </a:lnTo>
                    <a:lnTo>
                      <a:pt x="24" y="45"/>
                    </a:lnTo>
                    <a:lnTo>
                      <a:pt x="22" y="41"/>
                    </a:lnTo>
                    <a:lnTo>
                      <a:pt x="19" y="37"/>
                    </a:lnTo>
                    <a:lnTo>
                      <a:pt x="17" y="33"/>
                    </a:lnTo>
                    <a:lnTo>
                      <a:pt x="16" y="29"/>
                    </a:lnTo>
                    <a:lnTo>
                      <a:pt x="16" y="25"/>
                    </a:lnTo>
                    <a:lnTo>
                      <a:pt x="18" y="19"/>
                    </a:lnTo>
                    <a:lnTo>
                      <a:pt x="20" y="14"/>
                    </a:lnTo>
                    <a:lnTo>
                      <a:pt x="24" y="10"/>
                    </a:lnTo>
                    <a:lnTo>
                      <a:pt x="28" y="7"/>
                    </a:lnTo>
                    <a:lnTo>
                      <a:pt x="34" y="4"/>
                    </a:lnTo>
                    <a:lnTo>
                      <a:pt x="42" y="2"/>
                    </a:lnTo>
                    <a:lnTo>
                      <a:pt x="50" y="1"/>
                    </a:lnTo>
                    <a:lnTo>
                      <a:pt x="60" y="0"/>
                    </a:lnTo>
                    <a:lnTo>
                      <a:pt x="62" y="0"/>
                    </a:lnTo>
                    <a:lnTo>
                      <a:pt x="65" y="0"/>
                    </a:lnTo>
                    <a:lnTo>
                      <a:pt x="70" y="0"/>
                    </a:lnTo>
                    <a:lnTo>
                      <a:pt x="76" y="0"/>
                    </a:lnTo>
                    <a:lnTo>
                      <a:pt x="82" y="0"/>
                    </a:lnTo>
                    <a:lnTo>
                      <a:pt x="87" y="0"/>
                    </a:lnTo>
                    <a:lnTo>
                      <a:pt x="91" y="0"/>
                    </a:lnTo>
                    <a:lnTo>
                      <a:pt x="92" y="0"/>
                    </a:lnTo>
                    <a:lnTo>
                      <a:pt x="88"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5" name="Freeform 34"/>
              <p:cNvSpPr>
                <a:spLocks/>
              </p:cNvSpPr>
              <p:nvPr/>
            </p:nvSpPr>
            <p:spPr bwMode="auto">
              <a:xfrm>
                <a:off x="1600" y="575"/>
                <a:ext cx="100" cy="104"/>
              </a:xfrm>
              <a:custGeom>
                <a:avLst/>
                <a:gdLst>
                  <a:gd name="T0" fmla="*/ 96 w 100"/>
                  <a:gd name="T1" fmla="*/ 17 h 105"/>
                  <a:gd name="T2" fmla="*/ 42 w 100"/>
                  <a:gd name="T3" fmla="*/ 17 h 105"/>
                  <a:gd name="T4" fmla="*/ 37 w 100"/>
                  <a:gd name="T5" fmla="*/ 44 h 105"/>
                  <a:gd name="T6" fmla="*/ 83 w 100"/>
                  <a:gd name="T7" fmla="*/ 44 h 105"/>
                  <a:gd name="T8" fmla="*/ 80 w 100"/>
                  <a:gd name="T9" fmla="*/ 52 h 105"/>
                  <a:gd name="T10" fmla="*/ 33 w 100"/>
                  <a:gd name="T11" fmla="*/ 52 h 105"/>
                  <a:gd name="T12" fmla="*/ 27 w 100"/>
                  <a:gd name="T13" fmla="*/ 55 h 105"/>
                  <a:gd name="T14" fmla="*/ 80 w 100"/>
                  <a:gd name="T15" fmla="*/ 55 h 105"/>
                  <a:gd name="T16" fmla="*/ 77 w 100"/>
                  <a:gd name="T17" fmla="*/ 72 h 105"/>
                  <a:gd name="T18" fmla="*/ 0 w 100"/>
                  <a:gd name="T19" fmla="*/ 72 h 105"/>
                  <a:gd name="T20" fmla="*/ 23 w 100"/>
                  <a:gd name="T21" fmla="*/ 0 h 105"/>
                  <a:gd name="T22" fmla="*/ 99 w 100"/>
                  <a:gd name="T23" fmla="*/ 0 h 105"/>
                  <a:gd name="T24" fmla="*/ 96 w 100"/>
                  <a:gd name="T25" fmla="*/ 1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 h="105">
                    <a:moveTo>
                      <a:pt x="96" y="17"/>
                    </a:moveTo>
                    <a:lnTo>
                      <a:pt x="42" y="17"/>
                    </a:lnTo>
                    <a:lnTo>
                      <a:pt x="37" y="44"/>
                    </a:lnTo>
                    <a:lnTo>
                      <a:pt x="83" y="44"/>
                    </a:lnTo>
                    <a:lnTo>
                      <a:pt x="80" y="59"/>
                    </a:lnTo>
                    <a:lnTo>
                      <a:pt x="33" y="59"/>
                    </a:lnTo>
                    <a:lnTo>
                      <a:pt x="27" y="87"/>
                    </a:lnTo>
                    <a:lnTo>
                      <a:pt x="80" y="87"/>
                    </a:lnTo>
                    <a:lnTo>
                      <a:pt x="77" y="104"/>
                    </a:lnTo>
                    <a:lnTo>
                      <a:pt x="0" y="104"/>
                    </a:lnTo>
                    <a:lnTo>
                      <a:pt x="23" y="0"/>
                    </a:lnTo>
                    <a:lnTo>
                      <a:pt x="99" y="0"/>
                    </a:lnTo>
                    <a:lnTo>
                      <a:pt x="96"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6" name="Freeform 35"/>
              <p:cNvSpPr>
                <a:spLocks/>
              </p:cNvSpPr>
              <p:nvPr/>
            </p:nvSpPr>
            <p:spPr bwMode="auto">
              <a:xfrm>
                <a:off x="1696" y="575"/>
                <a:ext cx="100" cy="104"/>
              </a:xfrm>
              <a:custGeom>
                <a:avLst/>
                <a:gdLst>
                  <a:gd name="T0" fmla="*/ 69 w 100"/>
                  <a:gd name="T1" fmla="*/ 52 h 105"/>
                  <a:gd name="T2" fmla="*/ 86 w 100"/>
                  <a:gd name="T3" fmla="*/ 72 h 105"/>
                  <a:gd name="T4" fmla="*/ 61 w 100"/>
                  <a:gd name="T5" fmla="*/ 72 h 105"/>
                  <a:gd name="T6" fmla="*/ 41 w 100"/>
                  <a:gd name="T7" fmla="*/ 47 h 105"/>
                  <a:gd name="T8" fmla="*/ 43 w 100"/>
                  <a:gd name="T9" fmla="*/ 47 h 105"/>
                  <a:gd name="T10" fmla="*/ 44 w 100"/>
                  <a:gd name="T11" fmla="*/ 47 h 105"/>
                  <a:gd name="T12" fmla="*/ 45 w 100"/>
                  <a:gd name="T13" fmla="*/ 47 h 105"/>
                  <a:gd name="T14" fmla="*/ 46 w 100"/>
                  <a:gd name="T15" fmla="*/ 47 h 105"/>
                  <a:gd name="T16" fmla="*/ 47 w 100"/>
                  <a:gd name="T17" fmla="*/ 47 h 105"/>
                  <a:gd name="T18" fmla="*/ 48 w 100"/>
                  <a:gd name="T19" fmla="*/ 47 h 105"/>
                  <a:gd name="T20" fmla="*/ 50 w 100"/>
                  <a:gd name="T21" fmla="*/ 47 h 105"/>
                  <a:gd name="T22" fmla="*/ 50 w 100"/>
                  <a:gd name="T23" fmla="*/ 47 h 105"/>
                  <a:gd name="T24" fmla="*/ 55 w 100"/>
                  <a:gd name="T25" fmla="*/ 47 h 105"/>
                  <a:gd name="T26" fmla="*/ 59 w 100"/>
                  <a:gd name="T27" fmla="*/ 46 h 105"/>
                  <a:gd name="T28" fmla="*/ 63 w 100"/>
                  <a:gd name="T29" fmla="*/ 45 h 105"/>
                  <a:gd name="T30" fmla="*/ 66 w 100"/>
                  <a:gd name="T31" fmla="*/ 43 h 105"/>
                  <a:gd name="T32" fmla="*/ 70 w 100"/>
                  <a:gd name="T33" fmla="*/ 41 h 105"/>
                  <a:gd name="T34" fmla="*/ 72 w 100"/>
                  <a:gd name="T35" fmla="*/ 38 h 105"/>
                  <a:gd name="T36" fmla="*/ 74 w 100"/>
                  <a:gd name="T37" fmla="*/ 34 h 105"/>
                  <a:gd name="T38" fmla="*/ 75 w 100"/>
                  <a:gd name="T39" fmla="*/ 30 h 105"/>
                  <a:gd name="T40" fmla="*/ 76 w 100"/>
                  <a:gd name="T41" fmla="*/ 27 h 105"/>
                  <a:gd name="T42" fmla="*/ 76 w 100"/>
                  <a:gd name="T43" fmla="*/ 25 h 105"/>
                  <a:gd name="T44" fmla="*/ 75 w 100"/>
                  <a:gd name="T45" fmla="*/ 23 h 105"/>
                  <a:gd name="T46" fmla="*/ 75 w 100"/>
                  <a:gd name="T47" fmla="*/ 21 h 105"/>
                  <a:gd name="T48" fmla="*/ 73 w 100"/>
                  <a:gd name="T49" fmla="*/ 19 h 105"/>
                  <a:gd name="T50" fmla="*/ 71 w 100"/>
                  <a:gd name="T51" fmla="*/ 17 h 105"/>
                  <a:gd name="T52" fmla="*/ 67 w 100"/>
                  <a:gd name="T53" fmla="*/ 17 h 105"/>
                  <a:gd name="T54" fmla="*/ 63 w 100"/>
                  <a:gd name="T55" fmla="*/ 16 h 105"/>
                  <a:gd name="T56" fmla="*/ 42 w 100"/>
                  <a:gd name="T57" fmla="*/ 16 h 105"/>
                  <a:gd name="T58" fmla="*/ 23 w 100"/>
                  <a:gd name="T59" fmla="*/ 72 h 105"/>
                  <a:gd name="T60" fmla="*/ 0 w 100"/>
                  <a:gd name="T61" fmla="*/ 72 h 105"/>
                  <a:gd name="T62" fmla="*/ 22 w 100"/>
                  <a:gd name="T63" fmla="*/ 0 h 105"/>
                  <a:gd name="T64" fmla="*/ 71 w 100"/>
                  <a:gd name="T65" fmla="*/ 0 h 105"/>
                  <a:gd name="T66" fmla="*/ 78 w 100"/>
                  <a:gd name="T67" fmla="*/ 1 h 105"/>
                  <a:gd name="T68" fmla="*/ 85 w 100"/>
                  <a:gd name="T69" fmla="*/ 2 h 105"/>
                  <a:gd name="T70" fmla="*/ 90 w 100"/>
                  <a:gd name="T71" fmla="*/ 4 h 105"/>
                  <a:gd name="T72" fmla="*/ 93 w 100"/>
                  <a:gd name="T73" fmla="*/ 7 h 105"/>
                  <a:gd name="T74" fmla="*/ 96 w 100"/>
                  <a:gd name="T75" fmla="*/ 11 h 105"/>
                  <a:gd name="T76" fmla="*/ 98 w 100"/>
                  <a:gd name="T77" fmla="*/ 15 h 105"/>
                  <a:gd name="T78" fmla="*/ 99 w 100"/>
                  <a:gd name="T79" fmla="*/ 21 h 105"/>
                  <a:gd name="T80" fmla="*/ 99 w 100"/>
                  <a:gd name="T81" fmla="*/ 26 h 105"/>
                  <a:gd name="T82" fmla="*/ 98 w 100"/>
                  <a:gd name="T83" fmla="*/ 34 h 105"/>
                  <a:gd name="T84" fmla="*/ 95 w 100"/>
                  <a:gd name="T85" fmla="*/ 40 h 105"/>
                  <a:gd name="T86" fmla="*/ 93 w 100"/>
                  <a:gd name="T87" fmla="*/ 45 h 105"/>
                  <a:gd name="T88" fmla="*/ 89 w 100"/>
                  <a:gd name="T89" fmla="*/ 49 h 105"/>
                  <a:gd name="T90" fmla="*/ 85 w 100"/>
                  <a:gd name="T91" fmla="*/ 52 h 105"/>
                  <a:gd name="T92" fmla="*/ 79 w 100"/>
                  <a:gd name="T93" fmla="*/ 52 h 105"/>
                  <a:gd name="T94" fmla="*/ 74 w 100"/>
                  <a:gd name="T95" fmla="*/ 52 h 105"/>
                  <a:gd name="T96" fmla="*/ 69 w 100"/>
                  <a:gd name="T97" fmla="*/ 52 h 1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0" h="105">
                    <a:moveTo>
                      <a:pt x="69" y="59"/>
                    </a:moveTo>
                    <a:lnTo>
                      <a:pt x="86" y="104"/>
                    </a:lnTo>
                    <a:lnTo>
                      <a:pt x="61" y="104"/>
                    </a:lnTo>
                    <a:lnTo>
                      <a:pt x="41" y="47"/>
                    </a:lnTo>
                    <a:lnTo>
                      <a:pt x="43" y="47"/>
                    </a:lnTo>
                    <a:lnTo>
                      <a:pt x="44" y="47"/>
                    </a:lnTo>
                    <a:lnTo>
                      <a:pt x="45" y="47"/>
                    </a:lnTo>
                    <a:lnTo>
                      <a:pt x="46" y="47"/>
                    </a:lnTo>
                    <a:lnTo>
                      <a:pt x="47" y="47"/>
                    </a:lnTo>
                    <a:lnTo>
                      <a:pt x="48" y="47"/>
                    </a:lnTo>
                    <a:lnTo>
                      <a:pt x="50" y="47"/>
                    </a:lnTo>
                    <a:lnTo>
                      <a:pt x="55" y="47"/>
                    </a:lnTo>
                    <a:lnTo>
                      <a:pt x="59" y="46"/>
                    </a:lnTo>
                    <a:lnTo>
                      <a:pt x="63" y="45"/>
                    </a:lnTo>
                    <a:lnTo>
                      <a:pt x="66" y="43"/>
                    </a:lnTo>
                    <a:lnTo>
                      <a:pt x="70" y="41"/>
                    </a:lnTo>
                    <a:lnTo>
                      <a:pt x="72" y="38"/>
                    </a:lnTo>
                    <a:lnTo>
                      <a:pt x="74" y="34"/>
                    </a:lnTo>
                    <a:lnTo>
                      <a:pt x="75" y="30"/>
                    </a:lnTo>
                    <a:lnTo>
                      <a:pt x="76" y="27"/>
                    </a:lnTo>
                    <a:lnTo>
                      <a:pt x="76" y="25"/>
                    </a:lnTo>
                    <a:lnTo>
                      <a:pt x="75" y="23"/>
                    </a:lnTo>
                    <a:lnTo>
                      <a:pt x="75" y="21"/>
                    </a:lnTo>
                    <a:lnTo>
                      <a:pt x="73" y="19"/>
                    </a:lnTo>
                    <a:lnTo>
                      <a:pt x="71" y="17"/>
                    </a:lnTo>
                    <a:lnTo>
                      <a:pt x="67" y="17"/>
                    </a:lnTo>
                    <a:lnTo>
                      <a:pt x="63" y="16"/>
                    </a:lnTo>
                    <a:lnTo>
                      <a:pt x="42" y="16"/>
                    </a:lnTo>
                    <a:lnTo>
                      <a:pt x="23" y="104"/>
                    </a:lnTo>
                    <a:lnTo>
                      <a:pt x="0" y="104"/>
                    </a:lnTo>
                    <a:lnTo>
                      <a:pt x="22" y="0"/>
                    </a:lnTo>
                    <a:lnTo>
                      <a:pt x="71" y="0"/>
                    </a:lnTo>
                    <a:lnTo>
                      <a:pt x="78" y="1"/>
                    </a:lnTo>
                    <a:lnTo>
                      <a:pt x="85" y="2"/>
                    </a:lnTo>
                    <a:lnTo>
                      <a:pt x="90" y="4"/>
                    </a:lnTo>
                    <a:lnTo>
                      <a:pt x="93" y="7"/>
                    </a:lnTo>
                    <a:lnTo>
                      <a:pt x="96" y="11"/>
                    </a:lnTo>
                    <a:lnTo>
                      <a:pt x="98" y="15"/>
                    </a:lnTo>
                    <a:lnTo>
                      <a:pt x="99" y="21"/>
                    </a:lnTo>
                    <a:lnTo>
                      <a:pt x="99" y="26"/>
                    </a:lnTo>
                    <a:lnTo>
                      <a:pt x="98" y="34"/>
                    </a:lnTo>
                    <a:lnTo>
                      <a:pt x="95" y="40"/>
                    </a:lnTo>
                    <a:lnTo>
                      <a:pt x="93" y="45"/>
                    </a:lnTo>
                    <a:lnTo>
                      <a:pt x="89" y="49"/>
                    </a:lnTo>
                    <a:lnTo>
                      <a:pt x="85" y="53"/>
                    </a:lnTo>
                    <a:lnTo>
                      <a:pt x="79" y="56"/>
                    </a:lnTo>
                    <a:lnTo>
                      <a:pt x="74" y="58"/>
                    </a:lnTo>
                    <a:lnTo>
                      <a:pt x="69" y="59"/>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7" name="Freeform 36"/>
              <p:cNvSpPr>
                <a:spLocks/>
              </p:cNvSpPr>
              <p:nvPr/>
            </p:nvSpPr>
            <p:spPr bwMode="auto">
              <a:xfrm>
                <a:off x="1810" y="575"/>
                <a:ext cx="104" cy="104"/>
              </a:xfrm>
              <a:custGeom>
                <a:avLst/>
                <a:gdLst>
                  <a:gd name="T0" fmla="*/ 44 w 104"/>
                  <a:gd name="T1" fmla="*/ 72 h 105"/>
                  <a:gd name="T2" fmla="*/ 16 w 104"/>
                  <a:gd name="T3" fmla="*/ 72 h 105"/>
                  <a:gd name="T4" fmla="*/ 0 w 104"/>
                  <a:gd name="T5" fmla="*/ 0 h 105"/>
                  <a:gd name="T6" fmla="*/ 23 w 104"/>
                  <a:gd name="T7" fmla="*/ 0 h 105"/>
                  <a:gd name="T8" fmla="*/ 34 w 104"/>
                  <a:gd name="T9" fmla="*/ 52 h 105"/>
                  <a:gd name="T10" fmla="*/ 80 w 104"/>
                  <a:gd name="T11" fmla="*/ 0 h 105"/>
                  <a:gd name="T12" fmla="*/ 103 w 104"/>
                  <a:gd name="T13" fmla="*/ 0 h 105"/>
                  <a:gd name="T14" fmla="*/ 44 w 104"/>
                  <a:gd name="T15" fmla="*/ 72 h 1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4" h="105">
                    <a:moveTo>
                      <a:pt x="44" y="104"/>
                    </a:moveTo>
                    <a:lnTo>
                      <a:pt x="16" y="104"/>
                    </a:lnTo>
                    <a:lnTo>
                      <a:pt x="0" y="0"/>
                    </a:lnTo>
                    <a:lnTo>
                      <a:pt x="23" y="0"/>
                    </a:lnTo>
                    <a:lnTo>
                      <a:pt x="34" y="83"/>
                    </a:lnTo>
                    <a:lnTo>
                      <a:pt x="80" y="0"/>
                    </a:lnTo>
                    <a:lnTo>
                      <a:pt x="103" y="0"/>
                    </a:lnTo>
                    <a:lnTo>
                      <a:pt x="44"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8" name="Freeform 37"/>
              <p:cNvSpPr>
                <a:spLocks/>
              </p:cNvSpPr>
              <p:nvPr/>
            </p:nvSpPr>
            <p:spPr bwMode="auto">
              <a:xfrm>
                <a:off x="1907" y="575"/>
                <a:ext cx="46" cy="104"/>
              </a:xfrm>
              <a:custGeom>
                <a:avLst/>
                <a:gdLst>
                  <a:gd name="T0" fmla="*/ 23 w 46"/>
                  <a:gd name="T1" fmla="*/ 72 h 105"/>
                  <a:gd name="T2" fmla="*/ 0 w 46"/>
                  <a:gd name="T3" fmla="*/ 72 h 105"/>
                  <a:gd name="T4" fmla="*/ 22 w 46"/>
                  <a:gd name="T5" fmla="*/ 0 h 105"/>
                  <a:gd name="T6" fmla="*/ 45 w 46"/>
                  <a:gd name="T7" fmla="*/ 0 h 105"/>
                  <a:gd name="T8" fmla="*/ 23 w 46"/>
                  <a:gd name="T9" fmla="*/ 72 h 1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05">
                    <a:moveTo>
                      <a:pt x="23" y="104"/>
                    </a:moveTo>
                    <a:lnTo>
                      <a:pt x="0" y="104"/>
                    </a:lnTo>
                    <a:lnTo>
                      <a:pt x="22" y="0"/>
                    </a:lnTo>
                    <a:lnTo>
                      <a:pt x="45" y="0"/>
                    </a:lnTo>
                    <a:lnTo>
                      <a:pt x="23" y="104"/>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39" name="Freeform 38"/>
              <p:cNvSpPr>
                <a:spLocks/>
              </p:cNvSpPr>
              <p:nvPr/>
            </p:nvSpPr>
            <p:spPr bwMode="auto">
              <a:xfrm>
                <a:off x="1953" y="574"/>
                <a:ext cx="99" cy="109"/>
              </a:xfrm>
              <a:custGeom>
                <a:avLst/>
                <a:gdLst>
                  <a:gd name="T0" fmla="*/ 125 w 98"/>
                  <a:gd name="T1" fmla="*/ 19 h 110"/>
                  <a:gd name="T2" fmla="*/ 119 w 98"/>
                  <a:gd name="T3" fmla="*/ 18 h 110"/>
                  <a:gd name="T4" fmla="*/ 113 w 98"/>
                  <a:gd name="T5" fmla="*/ 17 h 110"/>
                  <a:gd name="T6" fmla="*/ 106 w 98"/>
                  <a:gd name="T7" fmla="*/ 17 h 110"/>
                  <a:gd name="T8" fmla="*/ 94 w 98"/>
                  <a:gd name="T9" fmla="*/ 17 h 110"/>
                  <a:gd name="T10" fmla="*/ 48 w 98"/>
                  <a:gd name="T11" fmla="*/ 22 h 110"/>
                  <a:gd name="T12" fmla="*/ 36 w 98"/>
                  <a:gd name="T13" fmla="*/ 32 h 110"/>
                  <a:gd name="T14" fmla="*/ 28 w 98"/>
                  <a:gd name="T15" fmla="*/ 46 h 110"/>
                  <a:gd name="T16" fmla="*/ 25 w 98"/>
                  <a:gd name="T17" fmla="*/ 55 h 110"/>
                  <a:gd name="T18" fmla="*/ 27 w 98"/>
                  <a:gd name="T19" fmla="*/ 55 h 110"/>
                  <a:gd name="T20" fmla="*/ 34 w 98"/>
                  <a:gd name="T21" fmla="*/ 55 h 110"/>
                  <a:gd name="T22" fmla="*/ 46 w 98"/>
                  <a:gd name="T23" fmla="*/ 60 h 110"/>
                  <a:gd name="T24" fmla="*/ 90 w 98"/>
                  <a:gd name="T25" fmla="*/ 60 h 110"/>
                  <a:gd name="T26" fmla="*/ 97 w 98"/>
                  <a:gd name="T27" fmla="*/ 60 h 110"/>
                  <a:gd name="T28" fmla="*/ 104 w 98"/>
                  <a:gd name="T29" fmla="*/ 58 h 110"/>
                  <a:gd name="T30" fmla="*/ 111 w 98"/>
                  <a:gd name="T31" fmla="*/ 57 h 110"/>
                  <a:gd name="T32" fmla="*/ 109 w 98"/>
                  <a:gd name="T33" fmla="*/ 74 h 110"/>
                  <a:gd name="T34" fmla="*/ 102 w 98"/>
                  <a:gd name="T35" fmla="*/ 76 h 110"/>
                  <a:gd name="T36" fmla="*/ 95 w 98"/>
                  <a:gd name="T37" fmla="*/ 76 h 110"/>
                  <a:gd name="T38" fmla="*/ 89 w 98"/>
                  <a:gd name="T39" fmla="*/ 77 h 110"/>
                  <a:gd name="T40" fmla="*/ 82 w 98"/>
                  <a:gd name="T41" fmla="*/ 77 h 110"/>
                  <a:gd name="T42" fmla="*/ 38 w 98"/>
                  <a:gd name="T43" fmla="*/ 76 h 110"/>
                  <a:gd name="T44" fmla="*/ 28 w 98"/>
                  <a:gd name="T45" fmla="*/ 74 h 110"/>
                  <a:gd name="T46" fmla="*/ 18 w 98"/>
                  <a:gd name="T47" fmla="*/ 70 h 110"/>
                  <a:gd name="T48" fmla="*/ 11 w 98"/>
                  <a:gd name="T49" fmla="*/ 64 h 110"/>
                  <a:gd name="T50" fmla="*/ 5 w 98"/>
                  <a:gd name="T51" fmla="*/ 56 h 110"/>
                  <a:gd name="T52" fmla="*/ 1 w 98"/>
                  <a:gd name="T53" fmla="*/ 55 h 110"/>
                  <a:gd name="T54" fmla="*/ 0 w 98"/>
                  <a:gd name="T55" fmla="*/ 55 h 110"/>
                  <a:gd name="T56" fmla="*/ 2 w 98"/>
                  <a:gd name="T57" fmla="*/ 54 h 110"/>
                  <a:gd name="T58" fmla="*/ 6 w 98"/>
                  <a:gd name="T59" fmla="*/ 41 h 110"/>
                  <a:gd name="T60" fmla="*/ 12 w 98"/>
                  <a:gd name="T61" fmla="*/ 30 h 110"/>
                  <a:gd name="T62" fmla="*/ 19 w 98"/>
                  <a:gd name="T63" fmla="*/ 21 h 110"/>
                  <a:gd name="T64" fmla="*/ 29 w 98"/>
                  <a:gd name="T65" fmla="*/ 13 h 110"/>
                  <a:gd name="T66" fmla="*/ 39 w 98"/>
                  <a:gd name="T67" fmla="*/ 7 h 110"/>
                  <a:gd name="T68" fmla="*/ 82 w 98"/>
                  <a:gd name="T69" fmla="*/ 3 h 110"/>
                  <a:gd name="T70" fmla="*/ 93 w 98"/>
                  <a:gd name="T71" fmla="*/ 1 h 110"/>
                  <a:gd name="T72" fmla="*/ 106 w 98"/>
                  <a:gd name="T73" fmla="*/ 0 h 110"/>
                  <a:gd name="T74" fmla="*/ 112 w 98"/>
                  <a:gd name="T75" fmla="*/ 0 h 110"/>
                  <a:gd name="T76" fmla="*/ 117 w 98"/>
                  <a:gd name="T77" fmla="*/ 1 h 110"/>
                  <a:gd name="T78" fmla="*/ 123 w 98"/>
                  <a:gd name="T79" fmla="*/ 1 h 110"/>
                  <a:gd name="T80" fmla="*/ 129 w 98"/>
                  <a:gd name="T81" fmla="*/ 3 h 1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8" h="110">
                    <a:moveTo>
                      <a:pt x="95" y="20"/>
                    </a:moveTo>
                    <a:lnTo>
                      <a:pt x="93" y="19"/>
                    </a:lnTo>
                    <a:lnTo>
                      <a:pt x="89" y="19"/>
                    </a:lnTo>
                    <a:lnTo>
                      <a:pt x="87" y="18"/>
                    </a:lnTo>
                    <a:lnTo>
                      <a:pt x="84" y="18"/>
                    </a:lnTo>
                    <a:lnTo>
                      <a:pt x="81" y="17"/>
                    </a:lnTo>
                    <a:lnTo>
                      <a:pt x="78" y="17"/>
                    </a:lnTo>
                    <a:lnTo>
                      <a:pt x="74" y="17"/>
                    </a:lnTo>
                    <a:lnTo>
                      <a:pt x="70" y="17"/>
                    </a:lnTo>
                    <a:lnTo>
                      <a:pt x="62" y="17"/>
                    </a:lnTo>
                    <a:lnTo>
                      <a:pt x="55" y="19"/>
                    </a:lnTo>
                    <a:lnTo>
                      <a:pt x="48" y="22"/>
                    </a:lnTo>
                    <a:lnTo>
                      <a:pt x="42" y="27"/>
                    </a:lnTo>
                    <a:lnTo>
                      <a:pt x="36" y="32"/>
                    </a:lnTo>
                    <a:lnTo>
                      <a:pt x="32" y="38"/>
                    </a:lnTo>
                    <a:lnTo>
                      <a:pt x="28" y="46"/>
                    </a:lnTo>
                    <a:lnTo>
                      <a:pt x="26" y="54"/>
                    </a:lnTo>
                    <a:lnTo>
                      <a:pt x="25" y="63"/>
                    </a:lnTo>
                    <a:lnTo>
                      <a:pt x="25" y="70"/>
                    </a:lnTo>
                    <a:lnTo>
                      <a:pt x="27" y="77"/>
                    </a:lnTo>
                    <a:lnTo>
                      <a:pt x="30" y="82"/>
                    </a:lnTo>
                    <a:lnTo>
                      <a:pt x="34" y="87"/>
                    </a:lnTo>
                    <a:lnTo>
                      <a:pt x="40" y="89"/>
                    </a:lnTo>
                    <a:lnTo>
                      <a:pt x="46" y="92"/>
                    </a:lnTo>
                    <a:lnTo>
                      <a:pt x="54" y="92"/>
                    </a:lnTo>
                    <a:lnTo>
                      <a:pt x="58" y="92"/>
                    </a:lnTo>
                    <a:lnTo>
                      <a:pt x="62" y="92"/>
                    </a:lnTo>
                    <a:lnTo>
                      <a:pt x="65" y="92"/>
                    </a:lnTo>
                    <a:lnTo>
                      <a:pt x="69" y="91"/>
                    </a:lnTo>
                    <a:lnTo>
                      <a:pt x="72" y="90"/>
                    </a:lnTo>
                    <a:lnTo>
                      <a:pt x="76" y="90"/>
                    </a:lnTo>
                    <a:lnTo>
                      <a:pt x="79" y="89"/>
                    </a:lnTo>
                    <a:lnTo>
                      <a:pt x="82" y="89"/>
                    </a:lnTo>
                    <a:lnTo>
                      <a:pt x="77" y="106"/>
                    </a:lnTo>
                    <a:lnTo>
                      <a:pt x="73" y="107"/>
                    </a:lnTo>
                    <a:lnTo>
                      <a:pt x="70" y="108"/>
                    </a:lnTo>
                    <a:lnTo>
                      <a:pt x="66" y="108"/>
                    </a:lnTo>
                    <a:lnTo>
                      <a:pt x="63" y="108"/>
                    </a:lnTo>
                    <a:lnTo>
                      <a:pt x="60" y="108"/>
                    </a:lnTo>
                    <a:lnTo>
                      <a:pt x="57" y="109"/>
                    </a:lnTo>
                    <a:lnTo>
                      <a:pt x="54" y="109"/>
                    </a:lnTo>
                    <a:lnTo>
                      <a:pt x="50" y="109"/>
                    </a:lnTo>
                    <a:lnTo>
                      <a:pt x="44" y="109"/>
                    </a:lnTo>
                    <a:lnTo>
                      <a:pt x="38" y="108"/>
                    </a:lnTo>
                    <a:lnTo>
                      <a:pt x="33" y="107"/>
                    </a:lnTo>
                    <a:lnTo>
                      <a:pt x="28" y="106"/>
                    </a:lnTo>
                    <a:lnTo>
                      <a:pt x="23" y="104"/>
                    </a:lnTo>
                    <a:lnTo>
                      <a:pt x="18" y="102"/>
                    </a:lnTo>
                    <a:lnTo>
                      <a:pt x="14" y="99"/>
                    </a:lnTo>
                    <a:lnTo>
                      <a:pt x="11" y="96"/>
                    </a:lnTo>
                    <a:lnTo>
                      <a:pt x="8" y="92"/>
                    </a:lnTo>
                    <a:lnTo>
                      <a:pt x="5" y="88"/>
                    </a:lnTo>
                    <a:lnTo>
                      <a:pt x="3" y="84"/>
                    </a:lnTo>
                    <a:lnTo>
                      <a:pt x="1" y="78"/>
                    </a:lnTo>
                    <a:lnTo>
                      <a:pt x="0" y="73"/>
                    </a:lnTo>
                    <a:lnTo>
                      <a:pt x="0" y="67"/>
                    </a:lnTo>
                    <a:lnTo>
                      <a:pt x="1" y="61"/>
                    </a:lnTo>
                    <a:lnTo>
                      <a:pt x="2" y="54"/>
                    </a:lnTo>
                    <a:lnTo>
                      <a:pt x="4" y="48"/>
                    </a:lnTo>
                    <a:lnTo>
                      <a:pt x="6" y="41"/>
                    </a:lnTo>
                    <a:lnTo>
                      <a:pt x="9" y="35"/>
                    </a:lnTo>
                    <a:lnTo>
                      <a:pt x="12" y="30"/>
                    </a:lnTo>
                    <a:lnTo>
                      <a:pt x="15" y="25"/>
                    </a:lnTo>
                    <a:lnTo>
                      <a:pt x="19" y="21"/>
                    </a:lnTo>
                    <a:lnTo>
                      <a:pt x="24" y="16"/>
                    </a:lnTo>
                    <a:lnTo>
                      <a:pt x="29" y="13"/>
                    </a:lnTo>
                    <a:lnTo>
                      <a:pt x="34" y="10"/>
                    </a:lnTo>
                    <a:lnTo>
                      <a:pt x="39" y="7"/>
                    </a:lnTo>
                    <a:lnTo>
                      <a:pt x="44" y="5"/>
                    </a:lnTo>
                    <a:lnTo>
                      <a:pt x="50" y="3"/>
                    </a:lnTo>
                    <a:lnTo>
                      <a:pt x="56" y="2"/>
                    </a:lnTo>
                    <a:lnTo>
                      <a:pt x="61" y="1"/>
                    </a:lnTo>
                    <a:lnTo>
                      <a:pt x="68" y="0"/>
                    </a:lnTo>
                    <a:lnTo>
                      <a:pt x="74" y="0"/>
                    </a:lnTo>
                    <a:lnTo>
                      <a:pt x="77" y="0"/>
                    </a:lnTo>
                    <a:lnTo>
                      <a:pt x="80" y="0"/>
                    </a:lnTo>
                    <a:lnTo>
                      <a:pt x="83" y="1"/>
                    </a:lnTo>
                    <a:lnTo>
                      <a:pt x="85" y="1"/>
                    </a:lnTo>
                    <a:lnTo>
                      <a:pt x="88" y="1"/>
                    </a:lnTo>
                    <a:lnTo>
                      <a:pt x="91" y="1"/>
                    </a:lnTo>
                    <a:lnTo>
                      <a:pt x="94" y="2"/>
                    </a:lnTo>
                    <a:lnTo>
                      <a:pt x="97" y="3"/>
                    </a:lnTo>
                    <a:lnTo>
                      <a:pt x="95" y="20"/>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sp>
            <p:nvSpPr>
              <p:cNvPr id="40" name="Freeform 39"/>
              <p:cNvSpPr>
                <a:spLocks/>
              </p:cNvSpPr>
              <p:nvPr/>
            </p:nvSpPr>
            <p:spPr bwMode="auto">
              <a:xfrm>
                <a:off x="2050" y="575"/>
                <a:ext cx="99" cy="104"/>
              </a:xfrm>
              <a:custGeom>
                <a:avLst/>
                <a:gdLst>
                  <a:gd name="T0" fmla="*/ 95 w 99"/>
                  <a:gd name="T1" fmla="*/ 17 h 105"/>
                  <a:gd name="T2" fmla="*/ 42 w 99"/>
                  <a:gd name="T3" fmla="*/ 17 h 105"/>
                  <a:gd name="T4" fmla="*/ 36 w 99"/>
                  <a:gd name="T5" fmla="*/ 44 h 105"/>
                  <a:gd name="T6" fmla="*/ 82 w 99"/>
                  <a:gd name="T7" fmla="*/ 44 h 105"/>
                  <a:gd name="T8" fmla="*/ 79 w 99"/>
                  <a:gd name="T9" fmla="*/ 52 h 105"/>
                  <a:gd name="T10" fmla="*/ 33 w 99"/>
                  <a:gd name="T11" fmla="*/ 52 h 105"/>
                  <a:gd name="T12" fmla="*/ 27 w 99"/>
                  <a:gd name="T13" fmla="*/ 55 h 105"/>
                  <a:gd name="T14" fmla="*/ 79 w 99"/>
                  <a:gd name="T15" fmla="*/ 55 h 105"/>
                  <a:gd name="T16" fmla="*/ 76 w 99"/>
                  <a:gd name="T17" fmla="*/ 72 h 105"/>
                  <a:gd name="T18" fmla="*/ 0 w 99"/>
                  <a:gd name="T19" fmla="*/ 72 h 105"/>
                  <a:gd name="T20" fmla="*/ 22 w 99"/>
                  <a:gd name="T21" fmla="*/ 0 h 105"/>
                  <a:gd name="T22" fmla="*/ 98 w 99"/>
                  <a:gd name="T23" fmla="*/ 0 h 105"/>
                  <a:gd name="T24" fmla="*/ 95 w 99"/>
                  <a:gd name="T25" fmla="*/ 1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9" h="105">
                    <a:moveTo>
                      <a:pt x="95" y="17"/>
                    </a:moveTo>
                    <a:lnTo>
                      <a:pt x="42" y="17"/>
                    </a:lnTo>
                    <a:lnTo>
                      <a:pt x="36" y="44"/>
                    </a:lnTo>
                    <a:lnTo>
                      <a:pt x="82" y="44"/>
                    </a:lnTo>
                    <a:lnTo>
                      <a:pt x="79" y="59"/>
                    </a:lnTo>
                    <a:lnTo>
                      <a:pt x="33" y="59"/>
                    </a:lnTo>
                    <a:lnTo>
                      <a:pt x="27" y="87"/>
                    </a:lnTo>
                    <a:lnTo>
                      <a:pt x="79" y="87"/>
                    </a:lnTo>
                    <a:lnTo>
                      <a:pt x="76" y="104"/>
                    </a:lnTo>
                    <a:lnTo>
                      <a:pt x="0" y="104"/>
                    </a:lnTo>
                    <a:lnTo>
                      <a:pt x="22" y="0"/>
                    </a:lnTo>
                    <a:lnTo>
                      <a:pt x="98" y="0"/>
                    </a:lnTo>
                    <a:lnTo>
                      <a:pt x="95" y="17"/>
                    </a:lnTo>
                  </a:path>
                </a:pathLst>
              </a:custGeom>
              <a:solidFill>
                <a:srgbClr val="FFFFFF"/>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eaLnBrk="0" fontAlgn="base" hangingPunct="0">
                  <a:spcBef>
                    <a:spcPct val="0"/>
                  </a:spcBef>
                  <a:spcAft>
                    <a:spcPct val="0"/>
                  </a:spcAft>
                </a:pPr>
                <a:endParaRPr lang="en-US" sz="1800" dirty="0">
                  <a:solidFill>
                    <a:prstClr val="black"/>
                  </a:solidFill>
                  <a:cs typeface="Arial"/>
                </a:endParaRPr>
              </a:p>
            </p:txBody>
          </p:sp>
        </p:grpSp>
        <p:sp>
          <p:nvSpPr>
            <p:cNvPr id="8" name="Rectangle 40"/>
            <p:cNvSpPr>
              <a:spLocks noChangeArrowheads="1"/>
            </p:cNvSpPr>
            <p:nvPr/>
          </p:nvSpPr>
          <p:spPr bwMode="auto">
            <a:xfrm>
              <a:off x="782" y="1062"/>
              <a:ext cx="904" cy="8"/>
            </a:xfrm>
            <a:prstGeom prst="rect">
              <a:avLst/>
            </a:prstGeom>
            <a:solidFill>
              <a:schemeClr val="bg1"/>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100000"/>
                </a:spcBef>
                <a:spcAft>
                  <a:spcPct val="0"/>
                </a:spcAft>
                <a:defRPr/>
              </a:pPr>
              <a:endParaRPr lang="en-US" altLang="en-US" sz="1125" b="1" u="sng" dirty="0">
                <a:solidFill>
                  <a:srgbClr val="FFFFFF"/>
                </a:solidFill>
              </a:endParaRPr>
            </a:p>
          </p:txBody>
        </p:sp>
        <p:sp>
          <p:nvSpPr>
            <p:cNvPr id="9" name="Text Box 41"/>
            <p:cNvSpPr txBox="1">
              <a:spLocks noChangeArrowheads="1"/>
            </p:cNvSpPr>
            <p:nvPr/>
          </p:nvSpPr>
          <p:spPr bwMode="auto">
            <a:xfrm>
              <a:off x="1638" y="1050"/>
              <a:ext cx="137" cy="167"/>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defRPr/>
              </a:pPr>
              <a:r>
                <a:rPr lang="en-US" sz="1125" b="1" dirty="0">
                  <a:solidFill>
                    <a:srgbClr val="FFFFFF"/>
                  </a:solidFill>
                </a:rPr>
                <a:t>®</a:t>
              </a:r>
            </a:p>
          </p:txBody>
        </p:sp>
      </p:grpSp>
      <p:sp>
        <p:nvSpPr>
          <p:cNvPr id="65538" name="Rectangle 3"/>
          <p:cNvSpPr>
            <a:spLocks noGrp="1" noChangeArrowheads="1"/>
          </p:cNvSpPr>
          <p:nvPr>
            <p:ph type="body" idx="1"/>
          </p:nvPr>
        </p:nvSpPr>
        <p:spPr bwMode="auto">
          <a:xfrm>
            <a:off x="508000" y="990600"/>
            <a:ext cx="11176000" cy="533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Page Number Placeholder 1"/>
          <p:cNvSpPr txBox="1"/>
          <p:nvPr userDrawn="1"/>
        </p:nvSpPr>
        <p:spPr>
          <a:xfrm>
            <a:off x="10769600" y="6604084"/>
            <a:ext cx="1422400" cy="253916"/>
          </a:xfrm>
          <a:prstGeom prst="rect">
            <a:avLst/>
          </a:prstGeom>
          <a:noFill/>
        </p:spPr>
        <p:txBody>
          <a:bodyPr wrap="square" rtlCol="0">
            <a:spAutoFit/>
          </a:bodyPr>
          <a:lstStyle/>
          <a:p>
            <a:pPr algn="r" fontAlgn="base">
              <a:spcBef>
                <a:spcPct val="0"/>
              </a:spcBef>
              <a:spcAft>
                <a:spcPct val="0"/>
              </a:spcAft>
            </a:pPr>
            <a:fld id="{DF49933B-0551-4821-8467-CB3987A2FE87}" type="slidenum">
              <a:rPr lang="en-US" sz="1000" b="1" smtClean="0">
                <a:solidFill>
                  <a:prstClr val="white">
                    <a:lumMod val="50000"/>
                  </a:prstClr>
                </a:solidFill>
              </a:rPr>
              <a:pPr algn="r" fontAlgn="base">
                <a:spcBef>
                  <a:spcPct val="0"/>
                </a:spcBef>
                <a:spcAft>
                  <a:spcPct val="0"/>
                </a:spcAft>
              </a:pPr>
              <a:t>‹#›</a:t>
            </a:fld>
            <a:endParaRPr lang="en-US" sz="1800" b="1" dirty="0">
              <a:solidFill>
                <a:prstClr val="white">
                  <a:lumMod val="50000"/>
                </a:prstClr>
              </a:solidFill>
            </a:endParaRPr>
          </a:p>
        </p:txBody>
      </p:sp>
      <p:sp>
        <p:nvSpPr>
          <p:cNvPr id="3" name="Title Placeholder 2"/>
          <p:cNvSpPr>
            <a:spLocks noGrp="1"/>
          </p:cNvSpPr>
          <p:nvPr>
            <p:ph type="title"/>
          </p:nvPr>
        </p:nvSpPr>
        <p:spPr>
          <a:xfrm>
            <a:off x="4064000" y="128016"/>
            <a:ext cx="7811008" cy="429768"/>
          </a:xfrm>
          <a:prstGeom prst="rect">
            <a:avLst/>
          </a:prstGeom>
        </p:spPr>
        <p:txBody>
          <a:bodyPr vert="horz" lIns="0" tIns="45720" rIns="0" bIns="45720" rtlCol="0" anchor="ctr">
            <a:normAutofit/>
          </a:bodyPr>
          <a:lstStyle/>
          <a:p>
            <a:r>
              <a:rPr lang="en-US" dirty="0"/>
              <a:t>Click to edit Master title style</a:t>
            </a:r>
          </a:p>
        </p:txBody>
      </p:sp>
    </p:spTree>
    <p:extLst>
      <p:ext uri="{BB962C8B-B14F-4D97-AF65-F5344CB8AC3E}">
        <p14:creationId xmlns:p14="http://schemas.microsoft.com/office/powerpoint/2010/main" val="28255792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Lst>
  <p:hf hdr="0" ftr="0" dt="0"/>
  <p:txStyles>
    <p:titleStyle>
      <a:lvl1pPr algn="r" rtl="0" eaLnBrk="0" fontAlgn="base" hangingPunct="0">
        <a:spcBef>
          <a:spcPct val="0"/>
        </a:spcBef>
        <a:spcAft>
          <a:spcPct val="0"/>
        </a:spcAft>
        <a:defRPr sz="2200" b="1">
          <a:solidFill>
            <a:schemeClr val="bg1"/>
          </a:solidFill>
          <a:latin typeface="Century Gothic" panose="020B0502020202020204" pitchFamily="34" charset="0"/>
          <a:ea typeface="+mj-ea"/>
          <a:cs typeface="Century Gothic" panose="020B0502020202020204" pitchFamily="34" charset="0"/>
        </a:defRPr>
      </a:lvl1pPr>
      <a:lvl2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2pPr>
      <a:lvl3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3pPr>
      <a:lvl4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4pPr>
      <a:lvl5pPr algn="r" rtl="0" eaLnBrk="0" fontAlgn="base" hangingPunct="0">
        <a:spcBef>
          <a:spcPct val="0"/>
        </a:spcBef>
        <a:spcAft>
          <a:spcPct val="0"/>
        </a:spcAft>
        <a:defRPr sz="2400" b="1">
          <a:solidFill>
            <a:schemeClr val="bg1"/>
          </a:solidFill>
          <a:latin typeface="Arial" charset="0"/>
          <a:ea typeface="ヒラギノ角ゴ Pro W3" pitchFamily="1" charset="-128"/>
          <a:cs typeface="ヒラギノ角ゴ Pro W3"/>
        </a:defRPr>
      </a:lvl5pPr>
      <a:lvl6pPr marL="457200" algn="r" rtl="0" eaLnBrk="1" fontAlgn="base" hangingPunct="1">
        <a:spcBef>
          <a:spcPct val="0"/>
        </a:spcBef>
        <a:spcAft>
          <a:spcPct val="0"/>
        </a:spcAft>
        <a:defRPr sz="2800" b="1">
          <a:solidFill>
            <a:schemeClr val="bg1"/>
          </a:solidFill>
          <a:latin typeface="Arial" charset="0"/>
          <a:ea typeface="ヒラギノ角ゴ Pro W3" pitchFamily="1" charset="-128"/>
        </a:defRPr>
      </a:lvl6pPr>
      <a:lvl7pPr marL="914400" algn="r" rtl="0" eaLnBrk="1" fontAlgn="base" hangingPunct="1">
        <a:spcBef>
          <a:spcPct val="0"/>
        </a:spcBef>
        <a:spcAft>
          <a:spcPct val="0"/>
        </a:spcAft>
        <a:defRPr sz="2800" b="1">
          <a:solidFill>
            <a:schemeClr val="bg1"/>
          </a:solidFill>
          <a:latin typeface="Arial" charset="0"/>
          <a:ea typeface="ヒラギノ角ゴ Pro W3" pitchFamily="1" charset="-128"/>
        </a:defRPr>
      </a:lvl7pPr>
      <a:lvl8pPr marL="1371600" algn="r" rtl="0" eaLnBrk="1" fontAlgn="base" hangingPunct="1">
        <a:spcBef>
          <a:spcPct val="0"/>
        </a:spcBef>
        <a:spcAft>
          <a:spcPct val="0"/>
        </a:spcAft>
        <a:defRPr sz="2800" b="1">
          <a:solidFill>
            <a:schemeClr val="bg1"/>
          </a:solidFill>
          <a:latin typeface="Arial" charset="0"/>
          <a:ea typeface="ヒラギノ角ゴ Pro W3" pitchFamily="1" charset="-128"/>
        </a:defRPr>
      </a:lvl8pPr>
      <a:lvl9pPr marL="1828800" algn="r" rtl="0" eaLnBrk="1" fontAlgn="base" hangingPunct="1">
        <a:spcBef>
          <a:spcPct val="0"/>
        </a:spcBef>
        <a:spcAft>
          <a:spcPct val="0"/>
        </a:spcAft>
        <a:defRPr sz="2800" b="1">
          <a:solidFill>
            <a:schemeClr val="bg1"/>
          </a:solidFill>
          <a:latin typeface="Arial" charset="0"/>
          <a:ea typeface="ヒラギノ角ゴ Pro W3" pitchFamily="1" charset="-128"/>
        </a:defRPr>
      </a:lvl9pPr>
    </p:titleStyle>
    <p:bodyStyle>
      <a:lvl1pPr marL="342900" indent="-342900" algn="l" rtl="0" eaLnBrk="0" fontAlgn="base" hangingPunct="0">
        <a:spcBef>
          <a:spcPct val="20000"/>
        </a:spcBef>
        <a:spcAft>
          <a:spcPct val="0"/>
        </a:spcAft>
        <a:buClr>
          <a:srgbClr val="4F81BD"/>
        </a:buClr>
        <a:buFont typeface="Century Gothic" panose="020B0502020202020204" pitchFamily="34" charset="0"/>
        <a:buChar char="●"/>
        <a:defRPr sz="3200" b="0">
          <a:solidFill>
            <a:schemeClr val="tx1"/>
          </a:solidFill>
          <a:latin typeface="Century Gothic" panose="020B0502020202020204" pitchFamily="34" charset="0"/>
          <a:ea typeface="+mn-ea"/>
          <a:cs typeface="Century Gothic" panose="020B0502020202020204" pitchFamily="34" charset="0"/>
        </a:defRPr>
      </a:lvl1pPr>
      <a:lvl2pPr marL="742950" indent="-285750" algn="l" rtl="0" eaLnBrk="0" fontAlgn="base" hangingPunct="0">
        <a:spcBef>
          <a:spcPct val="20000"/>
        </a:spcBef>
        <a:spcAft>
          <a:spcPct val="0"/>
        </a:spcAft>
        <a:buClr>
          <a:srgbClr val="4F81BD"/>
        </a:buClr>
        <a:buFont typeface="Century Gothic" panose="020B0502020202020204" pitchFamily="34" charset="0"/>
        <a:buChar char="●"/>
        <a:defRPr sz="2800" b="0">
          <a:solidFill>
            <a:schemeClr val="tx1"/>
          </a:solidFill>
          <a:latin typeface="Century Gothic" panose="020B0502020202020204" pitchFamily="34" charset="0"/>
          <a:ea typeface="+mn-ea"/>
          <a:cs typeface="Century Gothic" panose="020B0502020202020204" pitchFamily="34" charset="0"/>
        </a:defRPr>
      </a:lvl2pPr>
      <a:lvl3pPr marL="1143000" indent="-228600" algn="l" rtl="0" eaLnBrk="0" fontAlgn="base" hangingPunct="0">
        <a:spcBef>
          <a:spcPct val="20000"/>
        </a:spcBef>
        <a:spcAft>
          <a:spcPct val="0"/>
        </a:spcAft>
        <a:buClr>
          <a:srgbClr val="4F81BD"/>
        </a:buClr>
        <a:buFont typeface="Century Gothic" panose="020B0502020202020204" pitchFamily="34" charset="0"/>
        <a:buChar char="●"/>
        <a:defRPr sz="2400" b="0">
          <a:solidFill>
            <a:schemeClr val="tx1"/>
          </a:solidFill>
          <a:latin typeface="Century Gothic" panose="020B0502020202020204" pitchFamily="34" charset="0"/>
          <a:ea typeface="+mn-ea"/>
          <a:cs typeface="Century Gothic" panose="020B0502020202020204" pitchFamily="34" charset="0"/>
        </a:defRPr>
      </a:lvl3pPr>
      <a:lvl4pPr marL="1600200" indent="-228600" algn="l" rtl="0" eaLnBrk="0" fontAlgn="base" hangingPunct="0">
        <a:spcBef>
          <a:spcPct val="20000"/>
        </a:spcBef>
        <a:spcAft>
          <a:spcPct val="0"/>
        </a:spcAft>
        <a:buClr>
          <a:srgbClr val="4F81BD"/>
        </a:buClr>
        <a:buFont typeface="Century Gothic" panose="020B0502020202020204" pitchFamily="34" charset="0"/>
        <a:buChar char="●"/>
        <a:defRPr sz="2000" b="0">
          <a:solidFill>
            <a:schemeClr val="tx1"/>
          </a:solidFill>
          <a:latin typeface="Century Gothic" panose="020B0502020202020204" pitchFamily="34" charset="0"/>
          <a:ea typeface="+mn-ea"/>
          <a:cs typeface="Century Gothic" panose="020B0502020202020204" pitchFamily="34" charset="0"/>
        </a:defRPr>
      </a:lvl4pPr>
      <a:lvl5pPr marL="2057400" indent="-228600" algn="l" rtl="0" eaLnBrk="0" fontAlgn="base" hangingPunct="0">
        <a:spcBef>
          <a:spcPct val="20000"/>
        </a:spcBef>
        <a:spcAft>
          <a:spcPct val="0"/>
        </a:spcAft>
        <a:buClr>
          <a:srgbClr val="4F81BD"/>
        </a:buClr>
        <a:buFont typeface="Century Gothic" panose="020B0502020202020204" pitchFamily="34" charset="0"/>
        <a:buChar char="●"/>
        <a:defRPr sz="2000" b="0">
          <a:solidFill>
            <a:schemeClr val="tx1"/>
          </a:solidFill>
          <a:latin typeface="Century Gothic" panose="020B0502020202020204" pitchFamily="34" charset="0"/>
          <a:ea typeface="+mn-ea"/>
          <a:cs typeface="Century Gothic" panose="020B0502020202020204" pitchFamily="34" charset="0"/>
        </a:defRPr>
      </a:lvl5pPr>
      <a:lvl6pPr marL="25146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6pPr>
      <a:lvl7pPr marL="29718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7pPr>
      <a:lvl8pPr marL="34290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8pPr>
      <a:lvl9pPr marL="3886200" indent="-228600" algn="l" rtl="0" eaLnBrk="1" fontAlgn="base" hangingPunct="1">
        <a:spcBef>
          <a:spcPct val="20000"/>
        </a:spcBef>
        <a:spcAft>
          <a:spcPct val="0"/>
        </a:spcAft>
        <a:buFont typeface="Wingdings" pitchFamily="2" charset="2"/>
        <a:buChar char="§"/>
        <a:defRPr sz="2000" b="1">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sv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hyperlink" Target="mailto:MSSCadmin@usps.gov" TargetMode="Externa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mailto:MSSCadmin@usps.gov"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image" Target="../media/image27.jpg"/><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23.xml"/><Relationship Id="rId16" Type="http://schemas.openxmlformats.org/officeDocument/2006/relationships/image" Target="../media/image40.png"/><Relationship Id="rId20"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jp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hyperlink" Target="mailto:kimberly.l.pickett@usps.gov"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hyperlink" Target="mailto:Jerod.A.Siddle@usps.gov" TargetMode="External"/><Relationship Id="rId4" Type="http://schemas.openxmlformats.org/officeDocument/2006/relationships/hyperlink" Target="mailto:terri.a.beckham@usps.gov"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about.usps.com/what/government-services/election-mail/pdf/usps-2022-post-election-analysis.pdf" TargetMode="Externa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electionmail_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6795" y="930705"/>
            <a:ext cx="4572000" cy="19161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bg2"/>
                </a:solidFill>
                <a:miter lim="800000"/>
                <a:headEnd/>
                <a:tailEnd/>
              </a14:hiddenLine>
            </a:ext>
          </a:extLst>
        </p:spPr>
      </p:pic>
      <p:sp>
        <p:nvSpPr>
          <p:cNvPr id="16387" name="Rectangle 4"/>
          <p:cNvSpPr>
            <a:spLocks noChangeArrowheads="1"/>
          </p:cNvSpPr>
          <p:nvPr/>
        </p:nvSpPr>
        <p:spPr bwMode="auto">
          <a:xfrm>
            <a:off x="2514600" y="4191001"/>
            <a:ext cx="7772400"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r">
              <a:spcBef>
                <a:spcPct val="0"/>
              </a:spcBef>
              <a:buFontTx/>
              <a:buNone/>
            </a:pPr>
            <a:endParaRPr lang="en-US" altLang="en-US" sz="2400">
              <a:solidFill>
                <a:srgbClr val="FFFFFF"/>
              </a:solidFill>
              <a:latin typeface="Verdana" panose="020B0604030504040204" pitchFamily="34" charset="0"/>
            </a:endParaRPr>
          </a:p>
        </p:txBody>
      </p:sp>
      <p:sp>
        <p:nvSpPr>
          <p:cNvPr id="6" name="Rectangle 4"/>
          <p:cNvSpPr>
            <a:spLocks noChangeArrowheads="1"/>
          </p:cNvSpPr>
          <p:nvPr/>
        </p:nvSpPr>
        <p:spPr bwMode="auto">
          <a:xfrm>
            <a:off x="2771898" y="3941619"/>
            <a:ext cx="7772400"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r">
              <a:spcBef>
                <a:spcPct val="0"/>
              </a:spcBef>
              <a:buFontTx/>
              <a:buNone/>
            </a:pPr>
            <a:endParaRPr lang="en-US" altLang="en-US" sz="2400">
              <a:solidFill>
                <a:srgbClr val="FFFFFF"/>
              </a:solidFill>
              <a:latin typeface="Verdana" panose="020B0604030504040204" pitchFamily="34" charset="0"/>
            </a:endParaRPr>
          </a:p>
        </p:txBody>
      </p:sp>
      <p:sp>
        <p:nvSpPr>
          <p:cNvPr id="7" name="Rectangle 5"/>
          <p:cNvSpPr>
            <a:spLocks noGrp="1" noChangeArrowheads="1"/>
          </p:cNvSpPr>
          <p:nvPr>
            <p:ph type="subTitle" idx="4294967295"/>
          </p:nvPr>
        </p:nvSpPr>
        <p:spPr>
          <a:xfrm>
            <a:off x="638630" y="2916381"/>
            <a:ext cx="10908330" cy="1511301"/>
          </a:xfrm>
        </p:spPr>
        <p:txBody>
          <a:bodyPr vert="horz" lIns="91440" tIns="45720" rIns="91440" bIns="45720" rtlCol="0" anchor="t">
            <a:normAutofit/>
          </a:bodyPr>
          <a:lstStyle/>
          <a:p>
            <a:pPr marL="0" indent="0" algn="ctr">
              <a:spcBef>
                <a:spcPct val="20000"/>
              </a:spcBef>
              <a:buNone/>
            </a:pPr>
            <a:endParaRPr lang="en-US" altLang="en-US" dirty="0">
              <a:solidFill>
                <a:srgbClr val="333399"/>
              </a:solidFill>
              <a:latin typeface="Arial" panose="020B0604020202020204" pitchFamily="34" charset="0"/>
              <a:ea typeface="ＭＳ Ｐゴシック" panose="020B0600070205080204" pitchFamily="34" charset="-128"/>
              <a:cs typeface="Arial" panose="020B0604020202020204" pitchFamily="34" charset="0"/>
            </a:endParaRPr>
          </a:p>
          <a:p>
            <a:pPr marL="0" indent="0" algn="ctr">
              <a:spcBef>
                <a:spcPct val="20000"/>
              </a:spcBef>
              <a:buNone/>
            </a:pPr>
            <a:r>
              <a:rPr lang="en-US" dirty="0">
                <a:solidFill>
                  <a:srgbClr val="333399"/>
                </a:solidFill>
                <a:latin typeface="Arial"/>
                <a:ea typeface="ＭＳ Ｐゴシック"/>
                <a:cs typeface="Arial"/>
              </a:rPr>
              <a:t> 2024 Indiana Election Administrators’ Conference</a:t>
            </a:r>
          </a:p>
          <a:p>
            <a:pPr marL="0" indent="0" algn="ctr">
              <a:spcBef>
                <a:spcPct val="20000"/>
              </a:spcBef>
              <a:buNone/>
            </a:pPr>
            <a:r>
              <a:rPr lang="en-US" altLang="en-US" dirty="0">
                <a:solidFill>
                  <a:srgbClr val="333399"/>
                </a:solidFill>
                <a:latin typeface="Arial"/>
                <a:ea typeface="ＭＳ Ｐゴシック"/>
                <a:cs typeface="Arial"/>
              </a:rPr>
              <a:t>December 12, 2023 </a:t>
            </a:r>
          </a:p>
          <a:p>
            <a:pPr marL="0" indent="0" algn="ctr">
              <a:spcBef>
                <a:spcPct val="20000"/>
              </a:spcBef>
              <a:buNone/>
            </a:pPr>
            <a:endParaRPr lang="en-US" dirty="0">
              <a:solidFill>
                <a:srgbClr val="333399"/>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 name="Text Box 7"/>
          <p:cNvSpPr txBox="1">
            <a:spLocks noChangeArrowheads="1"/>
          </p:cNvSpPr>
          <p:nvPr/>
        </p:nvSpPr>
        <p:spPr bwMode="auto">
          <a:xfrm>
            <a:off x="2057400" y="4722307"/>
            <a:ext cx="8229600" cy="187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spAutoFit/>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ctr"/>
            <a:r>
              <a:rPr lang="en-US" altLang="en-US" b="0" dirty="0">
                <a:solidFill>
                  <a:srgbClr val="333399"/>
                </a:solidFill>
                <a:latin typeface="Arial"/>
                <a:ea typeface="ＭＳ Ｐゴシック"/>
                <a:cs typeface="Arial"/>
              </a:rPr>
              <a:t>Adrienne Marshall</a:t>
            </a:r>
            <a:endParaRPr lang="en-US" altLang="en-US" b="0" dirty="0">
              <a:solidFill>
                <a:srgbClr val="333399"/>
              </a:solidFill>
              <a:cs typeface="Arial" panose="020B0604020202020204" pitchFamily="34" charset="0"/>
            </a:endParaRPr>
          </a:p>
          <a:p>
            <a:pPr algn="ctr"/>
            <a:r>
              <a:rPr lang="en-US" altLang="en-US" b="0" dirty="0">
                <a:solidFill>
                  <a:srgbClr val="333399"/>
                </a:solidFill>
                <a:latin typeface="Arial"/>
                <a:ea typeface="ＭＳ Ｐゴシック"/>
                <a:cs typeface="Arial"/>
              </a:rPr>
              <a:t>Executive Director – Election and Government Mail Services</a:t>
            </a:r>
          </a:p>
          <a:p>
            <a:pPr algn="ctr"/>
            <a:endParaRPr lang="en-US" altLang="en-US" b="0" dirty="0">
              <a:solidFill>
                <a:srgbClr val="333399"/>
              </a:solidFill>
              <a:cs typeface="Arial" panose="020B0604020202020204" pitchFamily="34" charset="0"/>
            </a:endParaRPr>
          </a:p>
          <a:p>
            <a:pPr algn="ctr"/>
            <a:r>
              <a:rPr lang="en-US" altLang="en-US" b="0" dirty="0">
                <a:solidFill>
                  <a:srgbClr val="333399"/>
                </a:solidFill>
                <a:latin typeface="Arial"/>
                <a:ea typeface="ＭＳ Ｐゴシック"/>
                <a:cs typeface="Arial"/>
              </a:rPr>
              <a:t>Jerod Siddle</a:t>
            </a:r>
          </a:p>
          <a:p>
            <a:pPr algn="ctr"/>
            <a:r>
              <a:rPr lang="en-US" altLang="en-US" b="0" dirty="0">
                <a:solidFill>
                  <a:srgbClr val="333399"/>
                </a:solidFill>
                <a:latin typeface="Arial"/>
                <a:ea typeface="ＭＳ Ｐゴシック"/>
                <a:cs typeface="Arial"/>
              </a:rPr>
              <a:t>Central Field Specialist – Election and Government Mail Services</a:t>
            </a:r>
            <a:endParaRPr lang="en-US" altLang="en-US" b="0" dirty="0">
              <a:solidFill>
                <a:srgbClr val="333399"/>
              </a:solidFill>
              <a:cs typeface="Arial" panose="020B0604020202020204" pitchFamily="34" charset="0"/>
            </a:endParaRPr>
          </a:p>
        </p:txBody>
      </p:sp>
      <p:sp>
        <p:nvSpPr>
          <p:cNvPr id="9" name="Title 1">
            <a:extLst>
              <a:ext uri="{FF2B5EF4-FFF2-40B4-BE49-F238E27FC236}">
                <a16:creationId xmlns:a16="http://schemas.microsoft.com/office/drawing/2014/main" id="{4EC009D9-6808-498E-AE2C-34F4D2EA366A}"/>
              </a:ext>
            </a:extLst>
          </p:cNvPr>
          <p:cNvSpPr txBox="1">
            <a:spLocks/>
          </p:cNvSpPr>
          <p:nvPr/>
        </p:nvSpPr>
        <p:spPr>
          <a:xfrm>
            <a:off x="3646584" y="13252"/>
            <a:ext cx="7900376"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4 Election Mail Planning</a:t>
            </a:r>
          </a:p>
        </p:txBody>
      </p:sp>
      <p:sp>
        <p:nvSpPr>
          <p:cNvPr id="2" name="Slide Number Placeholder 1">
            <a:extLst>
              <a:ext uri="{FF2B5EF4-FFF2-40B4-BE49-F238E27FC236}">
                <a16:creationId xmlns:a16="http://schemas.microsoft.com/office/drawing/2014/main" id="{5E1EF1B1-C807-AC85-08DD-04DC53476BC2}"/>
              </a:ext>
            </a:extLst>
          </p:cNvPr>
          <p:cNvSpPr>
            <a:spLocks noGrp="1"/>
          </p:cNvSpPr>
          <p:nvPr>
            <p:ph type="sldNum" sz="quarter" idx="7"/>
          </p:nvPr>
        </p:nvSpPr>
        <p:spPr>
          <a:xfrm>
            <a:off x="11407812" y="6475228"/>
            <a:ext cx="645041" cy="382773"/>
          </a:xfrm>
          <a:prstGeom prst="rect">
            <a:avLst/>
          </a:prstGeom>
        </p:spPr>
        <p:txBody>
          <a:bodyPr vert="horz" lIns="0" tIns="0" rIns="0" bIns="0" rtlCol="0" anchor="ctr"/>
          <a:lstStyle>
            <a:defPPr>
              <a:defRPr lang="en-US"/>
            </a:defPPr>
            <a:lvl1pPr marL="0" algn="r" defTabSz="914400" rtl="0" eaLnBrk="1" latinLnBrk="0" hangingPunct="1">
              <a:defRPr sz="1200" b="0" i="0" kern="1200">
                <a:solidFill>
                  <a:srgbClr val="888888"/>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240"/>
              </a:lnSpc>
            </a:pPr>
            <a:fld id="{81D60167-4931-47E6-BA6A-407CBD079E47}" type="slidenum">
              <a:rPr lang="en-US" smtClean="0"/>
              <a:pPr marL="25400">
                <a:lnSpc>
                  <a:spcPts val="1240"/>
                </a:lnSpc>
              </a:pPr>
              <a:t>1</a:t>
            </a:fld>
            <a:endParaRPr lang="en-US" dirty="0"/>
          </a:p>
        </p:txBody>
      </p:sp>
    </p:spTree>
    <p:extLst>
      <p:ext uri="{BB962C8B-B14F-4D97-AF65-F5344CB8AC3E}">
        <p14:creationId xmlns:p14="http://schemas.microsoft.com/office/powerpoint/2010/main" val="4175823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6E62B7F-CE11-4847-8A62-090841A96900}"/>
              </a:ext>
            </a:extLst>
          </p:cNvPr>
          <p:cNvSpPr txBox="1">
            <a:spLocks/>
          </p:cNvSpPr>
          <p:nvPr/>
        </p:nvSpPr>
        <p:spPr>
          <a:xfrm>
            <a:off x="1884530" y="1880348"/>
            <a:ext cx="5988089" cy="2933526"/>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defRPr/>
            </a:pPr>
            <a:r>
              <a:rPr lang="en-US" dirty="0">
                <a:latin typeface="Arial"/>
                <a:cs typeface="Arial"/>
              </a:rPr>
              <a:t>Recent USPS Outreach and Communications</a:t>
            </a:r>
          </a:p>
          <a:p>
            <a:pPr lvl="0">
              <a:defRPr/>
            </a:pPr>
            <a:endParaRPr lang="en-US" sz="2400" dirty="0">
              <a:solidFill>
                <a:prstClr val="white"/>
              </a:solidFill>
            </a:endParaRPr>
          </a:p>
          <a:p>
            <a:pPr>
              <a:defRPr/>
            </a:pPr>
            <a:endParaRPr lang="en-US" sz="200" dirty="0">
              <a:solidFill>
                <a:prstClr val="white"/>
              </a:solidFill>
            </a:endParaRPr>
          </a:p>
        </p:txBody>
      </p:sp>
    </p:spTree>
    <p:extLst>
      <p:ext uri="{BB962C8B-B14F-4D97-AF65-F5344CB8AC3E}">
        <p14:creationId xmlns:p14="http://schemas.microsoft.com/office/powerpoint/2010/main" val="2934948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48896FB-F48D-B2FB-ADAB-400D114D7A5B}"/>
              </a:ext>
            </a:extLst>
          </p:cNvPr>
          <p:cNvSpPr txBox="1">
            <a:spLocks/>
          </p:cNvSpPr>
          <p:nvPr/>
        </p:nvSpPr>
        <p:spPr>
          <a:xfrm>
            <a:off x="136954" y="-9939"/>
            <a:ext cx="11454824" cy="687602"/>
          </a:xfrm>
          <a:prstGeom prst="rect">
            <a:avLst/>
          </a:prstGeom>
        </p:spPr>
        <p:txBody>
          <a:bodyPr vert="horz" lIns="91320" tIns="45660" rIns="91320" bIns="4566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228600" lvl="1" algn="r">
              <a:spcBef>
                <a:spcPts val="1000"/>
              </a:spcBef>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LECTION &amp; GOVERNMENT MAIL SERVICES</a:t>
            </a:r>
            <a:endParaRPr 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5" name="TextBox 4">
            <a:extLst>
              <a:ext uri="{FF2B5EF4-FFF2-40B4-BE49-F238E27FC236}">
                <a16:creationId xmlns:a16="http://schemas.microsoft.com/office/drawing/2014/main" id="{3A29D683-AEC6-F278-DE96-721AB12111C0}"/>
              </a:ext>
            </a:extLst>
          </p:cNvPr>
          <p:cNvSpPr txBox="1"/>
          <p:nvPr/>
        </p:nvSpPr>
        <p:spPr>
          <a:xfrm>
            <a:off x="5" y="649229"/>
            <a:ext cx="12185651" cy="379626"/>
          </a:xfrm>
          <a:prstGeom prst="rect">
            <a:avLst/>
          </a:prstGeom>
          <a:solidFill>
            <a:srgbClr val="EBF1F6">
              <a:lumMod val="50000"/>
            </a:srgbClr>
          </a:solidFill>
        </p:spPr>
        <p:txBody>
          <a:bodyPr wrap="square" lIns="91416" tIns="45708" rIns="91416" bIns="45708" rtlCol="0" anchor="ctr">
            <a:noAutofit/>
          </a:bodyPr>
          <a:lstStyle/>
          <a:p>
            <a:pPr algn="ctr" defTabSz="913852">
              <a:defRPr/>
            </a:pPr>
            <a:r>
              <a:rPr lang="en-US" sz="2000" b="1" kern="0" dirty="0">
                <a:solidFill>
                  <a:schemeClr val="bg1"/>
                </a:solidFill>
              </a:rPr>
              <a:t>USPS Outreach and Communications</a:t>
            </a:r>
          </a:p>
        </p:txBody>
      </p:sp>
      <p:sp>
        <p:nvSpPr>
          <p:cNvPr id="8" name="TextBox 7">
            <a:extLst>
              <a:ext uri="{FF2B5EF4-FFF2-40B4-BE49-F238E27FC236}">
                <a16:creationId xmlns:a16="http://schemas.microsoft.com/office/drawing/2014/main" id="{ED4DFA0E-CA7D-ED81-CF65-46DA30E83F5E}"/>
              </a:ext>
            </a:extLst>
          </p:cNvPr>
          <p:cNvSpPr txBox="1"/>
          <p:nvPr/>
        </p:nvSpPr>
        <p:spPr>
          <a:xfrm>
            <a:off x="136954" y="1154478"/>
            <a:ext cx="11701181" cy="4549043"/>
          </a:xfrm>
          <a:prstGeom prst="rect">
            <a:avLst/>
          </a:prstGeom>
          <a:solidFill>
            <a:sysClr val="window" lastClr="FFFFFF">
              <a:lumMod val="95000"/>
            </a:sysClr>
          </a:solidFill>
        </p:spPr>
        <p:txBody>
          <a:bodyPr wrap="square" lIns="91416" tIns="45708" rIns="91416" bIns="45708" rtlCol="0" anchor="t" anchorCtr="0">
            <a:noAutofit/>
          </a:bodyPr>
          <a:lstStyle/>
          <a:p>
            <a:pPr marL="0" lvl="1">
              <a:buSzPct val="65000"/>
            </a:pPr>
            <a:r>
              <a:rPr lang="en-US" sz="2400" b="1" dirty="0">
                <a:latin typeface="Arial" panose="020B0604020202020204" pitchFamily="34" charset="0"/>
                <a:cs typeface="Arial" panose="020B0604020202020204" pitchFamily="34" charset="0"/>
              </a:rPr>
              <a:t>USPS Election Mail Visibility Survey March 21 - April 14, 2023</a:t>
            </a:r>
          </a:p>
          <a:p>
            <a:pPr marL="342900" lvl="1" indent="-342900">
              <a:buSzPct val="65000"/>
              <a:buFont typeface="Arial" panose="020B0604020202020204" pitchFamily="34" charset="0"/>
              <a:buChar char="•"/>
            </a:pPr>
            <a:r>
              <a:rPr lang="en-US" sz="2400" dirty="0">
                <a:latin typeface="Arial" panose="020B0604020202020204" pitchFamily="34" charset="0"/>
                <a:cs typeface="Arial" panose="020B0604020202020204" pitchFamily="34" charset="0"/>
              </a:rPr>
              <a:t>Survey of state and local election jurisdiction’s use of Election Mail visibility tools</a:t>
            </a:r>
          </a:p>
          <a:p>
            <a:pPr marL="0" lvl="1">
              <a:buSzPct val="65000"/>
            </a:pPr>
            <a:endParaRPr lang="en-US" sz="2400" b="1" dirty="0">
              <a:latin typeface="Arial" panose="020B0604020202020204" pitchFamily="34" charset="0"/>
              <a:cs typeface="Arial" panose="020B0604020202020204" pitchFamily="34" charset="0"/>
            </a:endParaRPr>
          </a:p>
          <a:p>
            <a:pPr marL="0" lvl="1">
              <a:buSzPct val="65000"/>
            </a:pPr>
            <a:r>
              <a:rPr lang="en-US" sz="2400" b="1" dirty="0">
                <a:latin typeface="Arial" panose="020B0604020202020204" pitchFamily="34" charset="0"/>
                <a:cs typeface="Arial" panose="020B0604020202020204" pitchFamily="34" charset="0"/>
              </a:rPr>
              <a:t>USPS Request for Information on Ballot Mail Return Address List</a:t>
            </a:r>
          </a:p>
          <a:p>
            <a:pPr marL="342900" lvl="1" indent="-342900">
              <a:buSzPct val="65000"/>
              <a:buFont typeface="Arial" panose="020B0604020202020204" pitchFamily="34" charset="0"/>
              <a:buChar char="•"/>
            </a:pPr>
            <a:r>
              <a:rPr lang="en-US" sz="2400" dirty="0">
                <a:latin typeface="Arial" panose="020B0604020202020204" pitchFamily="34" charset="0"/>
                <a:cs typeface="Arial" panose="020B0604020202020204" pitchFamily="34" charset="0"/>
              </a:rPr>
              <a:t>Ballot Mail Return Address Lists help USPS improve mail processing procedures and more effectively implement Election Mail “extraordinary measures.”</a:t>
            </a:r>
          </a:p>
          <a:p>
            <a:pPr marL="342900" lvl="1" indent="-342900">
              <a:buSzPct val="65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0" lvl="1">
              <a:spcBef>
                <a:spcPts val="1000"/>
              </a:spcBef>
              <a:buSzPct val="65000"/>
            </a:pPr>
            <a:r>
              <a:rPr lang="en-US" sz="2400" b="1" dirty="0">
                <a:latin typeface="Arial" panose="020B0604020202020204" pitchFamily="34" charset="0"/>
                <a:cs typeface="Arial" panose="020B0604020202020204" pitchFamily="34" charset="0"/>
              </a:rPr>
              <a:t>National Postal Forum -  Election Mail Day – May 24, 2023 - Charlotte, NC</a:t>
            </a:r>
          </a:p>
          <a:p>
            <a:pPr marL="0" lvl="1">
              <a:spcBef>
                <a:spcPts val="1000"/>
              </a:spcBef>
              <a:buSzPct val="65000"/>
            </a:pPr>
            <a:r>
              <a:rPr lang="en-US" sz="2400" dirty="0">
                <a:latin typeface="Arial" panose="020B0604020202020204" pitchFamily="34" charset="0"/>
                <a:cs typeface="Arial" panose="020B0604020202020204" pitchFamily="34" charset="0"/>
              </a:rPr>
              <a:t>Topics: Election Mail Visibility, Mail Security and the Postal Inspection Service, Address Management Services, </a:t>
            </a:r>
            <a:r>
              <a:rPr lang="en-US" sz="2400" dirty="0" err="1">
                <a:latin typeface="Arial" panose="020B0604020202020204" pitchFamily="34" charset="0"/>
                <a:cs typeface="Arial" panose="020B0604020202020204" pitchFamily="34" charset="0"/>
              </a:rPr>
              <a:t>Mailpiece</a:t>
            </a:r>
            <a:r>
              <a:rPr lang="en-US" sz="2400" dirty="0">
                <a:latin typeface="Arial" panose="020B0604020202020204" pitchFamily="34" charset="0"/>
                <a:cs typeface="Arial" panose="020B0604020202020204" pitchFamily="34" charset="0"/>
              </a:rPr>
              <a:t> Design, Analytics</a:t>
            </a:r>
            <a:endParaRPr lang="en-US" sz="2400" dirty="0">
              <a:latin typeface="Calibri" panose="020F0502020204030204" pitchFamily="34" charset="0"/>
              <a:cs typeface="Arial" panose="020B0604020202020204" pitchFamily="34" charset="0"/>
            </a:endParaRPr>
          </a:p>
          <a:p>
            <a:pPr marL="0" lvl="1">
              <a:spcBef>
                <a:spcPts val="1000"/>
              </a:spcBef>
              <a:buSzPct val="65000"/>
            </a:pPr>
            <a:r>
              <a:rPr lang="en-US" sz="2400" b="1" dirty="0">
                <a:latin typeface="Arial" panose="020B0604020202020204" pitchFamily="34" charset="0"/>
                <a:cs typeface="Arial" panose="020B0604020202020204" pitchFamily="34" charset="0"/>
              </a:rPr>
              <a:t>Next National Postal Forum -  June 2 – June 5, 2024 - Indianapolis, IN </a:t>
            </a:r>
          </a:p>
          <a:p>
            <a:pPr marL="342900" lvl="1" indent="-342900">
              <a:buSzPct val="65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154665A1-966B-B79B-B392-1CCFDBB357AC}"/>
              </a:ext>
            </a:extLst>
          </p:cNvPr>
          <p:cNvSpPr>
            <a:spLocks noGrp="1"/>
          </p:cNvSpPr>
          <p:nvPr>
            <p:ph type="sldNum" sz="quarter" idx="7"/>
          </p:nvPr>
        </p:nvSpPr>
        <p:spPr>
          <a:xfrm>
            <a:off x="11407812" y="6475228"/>
            <a:ext cx="645041" cy="382773"/>
          </a:xfrm>
          <a:prstGeom prst="rect">
            <a:avLst/>
          </a:prstGeom>
        </p:spPr>
        <p:txBody>
          <a:bodyPr vert="horz" lIns="0" tIns="0" rIns="0" bIns="0" rtlCol="0" anchor="ctr"/>
          <a:lstStyle>
            <a:defPPr>
              <a:defRPr lang="en-US"/>
            </a:defPPr>
            <a:lvl1pPr marL="0" algn="r" defTabSz="914400" rtl="0" eaLnBrk="1" latinLnBrk="0" hangingPunct="1">
              <a:defRPr sz="120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240"/>
              </a:lnSpc>
            </a:pPr>
            <a:fld id="{81D60167-4931-47E6-BA6A-407CBD079E47}" type="slidenum">
              <a:rPr lang="en-US" smtClean="0"/>
              <a:pPr marL="25400">
                <a:lnSpc>
                  <a:spcPts val="1240"/>
                </a:lnSpc>
              </a:pPr>
              <a:t>11</a:t>
            </a:fld>
            <a:endParaRPr lang="en-US" dirty="0"/>
          </a:p>
        </p:txBody>
      </p:sp>
    </p:spTree>
    <p:extLst>
      <p:ext uri="{BB962C8B-B14F-4D97-AF65-F5344CB8AC3E}">
        <p14:creationId xmlns:p14="http://schemas.microsoft.com/office/powerpoint/2010/main" val="2740091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6E62B7F-CE11-4847-8A62-090841A96900}"/>
              </a:ext>
            </a:extLst>
          </p:cNvPr>
          <p:cNvSpPr txBox="1">
            <a:spLocks/>
          </p:cNvSpPr>
          <p:nvPr/>
        </p:nvSpPr>
        <p:spPr>
          <a:xfrm>
            <a:off x="1884530" y="1880348"/>
            <a:ext cx="5988089" cy="2933526"/>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defRPr/>
            </a:pPr>
            <a:r>
              <a:rPr lang="en-US" dirty="0">
                <a:latin typeface="Arial"/>
                <a:cs typeface="Arial"/>
              </a:rPr>
              <a:t>USPS Election Mail Policies and Mailing Recommendations for Election Officials</a:t>
            </a:r>
          </a:p>
          <a:p>
            <a:pPr lvl="0">
              <a:defRPr/>
            </a:pPr>
            <a:endParaRPr lang="en-US" sz="2400" dirty="0">
              <a:solidFill>
                <a:prstClr val="white"/>
              </a:solidFill>
            </a:endParaRPr>
          </a:p>
          <a:p>
            <a:pPr>
              <a:defRPr/>
            </a:pPr>
            <a:endParaRPr lang="en-US" sz="200" dirty="0">
              <a:solidFill>
                <a:prstClr val="white"/>
              </a:solidFill>
            </a:endParaRPr>
          </a:p>
        </p:txBody>
      </p:sp>
    </p:spTree>
    <p:extLst>
      <p:ext uri="{BB962C8B-B14F-4D97-AF65-F5344CB8AC3E}">
        <p14:creationId xmlns:p14="http://schemas.microsoft.com/office/powerpoint/2010/main" val="1071521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4F1FDF-00A0-4EE3-9234-C4ED19484945}"/>
              </a:ext>
            </a:extLst>
          </p:cNvPr>
          <p:cNvSpPr txBox="1">
            <a:spLocks/>
          </p:cNvSpPr>
          <p:nvPr/>
        </p:nvSpPr>
        <p:spPr>
          <a:xfrm>
            <a:off x="0" y="971551"/>
            <a:ext cx="12192000" cy="5067300"/>
          </a:xfrm>
          <a:prstGeom prst="rect">
            <a:avLst/>
          </a:prstGeom>
        </p:spPr>
        <p:txBody>
          <a:bodyPr vert="horz" lIns="91416" tIns="45708" rIns="91416" bIns="45708" rtlCol="0">
            <a:normAutofit lnSpcReduction="10000"/>
          </a:bodyPr>
          <a:lst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lvl="1" fontAlgn="base">
              <a:lnSpc>
                <a:spcPct val="70000"/>
              </a:lnSpc>
              <a:spcBef>
                <a:spcPts val="1200"/>
              </a:spcBef>
              <a:spcAft>
                <a:spcPts val="600"/>
              </a:spcAft>
              <a:buClr>
                <a:srgbClr val="000000"/>
              </a:buClr>
              <a:buSzPct val="100000"/>
              <a:buNone/>
              <a:defRPr/>
            </a:pPr>
            <a:r>
              <a:rPr lang="en-US" sz="3200" b="1" dirty="0">
                <a:solidFill>
                  <a:schemeClr val="accent1">
                    <a:lumMod val="50000"/>
                  </a:schemeClr>
                </a:solidFill>
                <a:latin typeface="Arial" panose="020B0604020202020204" pitchFamily="34" charset="0"/>
                <a:cs typeface="Arial" panose="020B0604020202020204" pitchFamily="34" charset="0"/>
              </a:rPr>
              <a:t>Postmarking</a:t>
            </a:r>
          </a:p>
          <a:p>
            <a:pPr marL="342797" lvl="1" indent="-342797">
              <a:lnSpc>
                <a:spcPct val="120000"/>
              </a:lnSpc>
              <a:spcBef>
                <a:spcPts val="0"/>
              </a:spcBef>
              <a:buClr>
                <a:prstClr val="black"/>
              </a:buClr>
              <a:buSzPct val="100000"/>
              <a:defRPr/>
            </a:pPr>
            <a:r>
              <a:rPr lang="en-US" sz="2400" dirty="0">
                <a:solidFill>
                  <a:srgbClr val="1F4E79"/>
                </a:solidFill>
                <a:latin typeface="Arial" panose="020B0604020202020204" pitchFamily="34" charset="0"/>
                <a:cs typeface="Arial" panose="020B0604020202020204" pitchFamily="34" charset="0"/>
              </a:rPr>
              <a:t>We do not postmark every piece of mail under ordinary processing procedures. </a:t>
            </a:r>
          </a:p>
          <a:p>
            <a:pPr marL="342797" lvl="1" indent="-342797">
              <a:lnSpc>
                <a:spcPct val="120000"/>
              </a:lnSpc>
              <a:spcBef>
                <a:spcPts val="0"/>
              </a:spcBef>
              <a:buClr>
                <a:prstClr val="black"/>
              </a:buClr>
              <a:buSzPct val="100000"/>
              <a:defRPr/>
            </a:pPr>
            <a:r>
              <a:rPr lang="en-US" sz="2400" dirty="0">
                <a:solidFill>
                  <a:srgbClr val="1F4E79"/>
                </a:solidFill>
                <a:latin typeface="Arial" panose="020B0604020202020204" pitchFamily="34" charset="0"/>
                <a:cs typeface="Arial" panose="020B0604020202020204" pitchFamily="34" charset="0"/>
              </a:rPr>
              <a:t>However, it is our long-standing policy to try to ensure that every return ballot mailed by voters receives a postmark, regardless of their method of paying postage. </a:t>
            </a:r>
          </a:p>
          <a:p>
            <a:pPr marL="342797" lvl="1" indent="-342797">
              <a:lnSpc>
                <a:spcPct val="120000"/>
              </a:lnSpc>
              <a:spcBef>
                <a:spcPts val="0"/>
              </a:spcBef>
              <a:buClr>
                <a:prstClr val="black"/>
              </a:buClr>
              <a:buSzPct val="100000"/>
              <a:defRPr/>
            </a:pPr>
            <a:r>
              <a:rPr lang="en-US" sz="2400" dirty="0">
                <a:solidFill>
                  <a:srgbClr val="1F4E79"/>
                </a:solidFill>
                <a:latin typeface="Arial" panose="020B0604020202020204" pitchFamily="34" charset="0"/>
                <a:cs typeface="Arial" panose="020B0604020202020204" pitchFamily="34" charset="0"/>
              </a:rPr>
              <a:t>The Postal Service has instructed employees throughout the country about our ballot postmarking processes and procedures and reviewed the standard operating procedures for ballot postmarking. </a:t>
            </a:r>
          </a:p>
          <a:p>
            <a:pPr marL="342797" lvl="1" indent="-342797">
              <a:lnSpc>
                <a:spcPct val="120000"/>
              </a:lnSpc>
              <a:spcBef>
                <a:spcPts val="0"/>
              </a:spcBef>
              <a:buClr>
                <a:prstClr val="black"/>
              </a:buClr>
              <a:buSzPct val="100000"/>
              <a:defRPr/>
            </a:pPr>
            <a:r>
              <a:rPr lang="en-US" sz="2400" dirty="0">
                <a:solidFill>
                  <a:srgbClr val="1F4E79"/>
                </a:solidFill>
                <a:latin typeface="Arial" panose="020B0604020202020204" pitchFamily="34" charset="0"/>
                <a:cs typeface="Arial" panose="020B0604020202020204" pitchFamily="34" charset="0"/>
              </a:rPr>
              <a:t>We acknowledge that circumstances can arise that prevent ballots from receiving a legible postmark. </a:t>
            </a:r>
          </a:p>
          <a:p>
            <a:pPr marL="342797" lvl="1" indent="-342797">
              <a:lnSpc>
                <a:spcPct val="120000"/>
              </a:lnSpc>
              <a:spcBef>
                <a:spcPts val="0"/>
              </a:spcBef>
              <a:buClr>
                <a:prstClr val="black"/>
              </a:buClr>
              <a:buSzPct val="100000"/>
              <a:defRPr/>
            </a:pPr>
            <a:r>
              <a:rPr lang="en-US" sz="2400" dirty="0">
                <a:solidFill>
                  <a:srgbClr val="1F4E79"/>
                </a:solidFill>
                <a:latin typeface="Arial" panose="020B0604020202020204" pitchFamily="34" charset="0"/>
                <a:cs typeface="Arial" panose="020B0604020202020204" pitchFamily="34" charset="0"/>
              </a:rPr>
              <a:t>Voters are reminded to check collection times posted on collection boxes and at Post Office locations and retail facilities. Ballots deposited after the collection time won’t be picked up, or postmarked, until the following business day.</a:t>
            </a:r>
          </a:p>
        </p:txBody>
      </p:sp>
      <p:sp>
        <p:nvSpPr>
          <p:cNvPr id="2" name="Title 1">
            <a:extLst>
              <a:ext uri="{FF2B5EF4-FFF2-40B4-BE49-F238E27FC236}">
                <a16:creationId xmlns:a16="http://schemas.microsoft.com/office/drawing/2014/main" id="{E81DEC7D-62A8-C954-A4C6-0F46C3C6E5F5}"/>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597512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1A6EC50-ABC1-4527-BDA8-E7DB965DCD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2506" y="935053"/>
            <a:ext cx="3324220" cy="1414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4294967295"/>
          </p:nvPr>
        </p:nvSpPr>
        <p:spPr>
          <a:xfrm>
            <a:off x="486429" y="1070393"/>
            <a:ext cx="7745260" cy="5101771"/>
          </a:xfrm>
        </p:spPr>
        <p:txBody>
          <a:bodyPr>
            <a:normAutofit/>
          </a:bodyPr>
          <a:lstStyle/>
          <a:p>
            <a:pPr marL="0" lvl="1" indent="-228531" defTabSz="914126" fontAlgn="base">
              <a:lnSpc>
                <a:spcPct val="70000"/>
              </a:lnSpc>
              <a:spcBef>
                <a:spcPts val="1200"/>
              </a:spcBef>
              <a:spcAft>
                <a:spcPts val="600"/>
              </a:spcAft>
              <a:buClr>
                <a:srgbClr val="000000"/>
              </a:buClr>
              <a:buSzPct val="100000"/>
              <a:buNone/>
              <a:defRPr/>
            </a:pPr>
            <a:r>
              <a:rPr lang="en-US" sz="3600" b="1" u="sng" dirty="0">
                <a:solidFill>
                  <a:schemeClr val="accent1">
                    <a:lumMod val="50000"/>
                  </a:schemeClr>
                </a:solidFill>
                <a:latin typeface="Arial" panose="020B0604020202020204" pitchFamily="34" charset="0"/>
                <a:cs typeface="Arial" panose="020B0604020202020204" pitchFamily="34" charset="0"/>
              </a:rPr>
              <a:t>Election Mail Visibility Tool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Official Election Mail logo</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Tag 191, </a:t>
            </a:r>
            <a:r>
              <a:rPr lang="en-US" sz="2200" i="1" dirty="0">
                <a:solidFill>
                  <a:schemeClr val="accent1">
                    <a:lumMod val="50000"/>
                  </a:schemeClr>
                </a:solidFill>
                <a:latin typeface="Arial" panose="020B0604020202020204" pitchFamily="34" charset="0"/>
                <a:cs typeface="Arial" panose="020B0604020202020204" pitchFamily="34" charset="0"/>
              </a:rPr>
              <a:t>Domestic and International Ballot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Serialized Intelligent Mail barcode (IMb®)</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Ballot Mail Service Type Identifiers (STIDs)</a:t>
            </a:r>
          </a:p>
          <a:p>
            <a:pPr marL="457200" lvl="1" indent="-457200">
              <a:lnSpc>
                <a:spcPct val="110000"/>
              </a:lnSpc>
              <a:spcBef>
                <a:spcPts val="1800"/>
              </a:spcBef>
              <a:buClr>
                <a:prstClr val="black"/>
              </a:buClr>
              <a:buSzPct val="100000"/>
              <a:defRPr/>
            </a:pPr>
            <a:r>
              <a:rPr lang="en-US" sz="2200" dirty="0">
                <a:solidFill>
                  <a:schemeClr val="accent1">
                    <a:lumMod val="50000"/>
                  </a:schemeClr>
                </a:solidFill>
                <a:latin typeface="Arial" panose="020B0604020202020204" pitchFamily="34" charset="0"/>
                <a:cs typeface="Arial" panose="020B0604020202020204" pitchFamily="34" charset="0"/>
              </a:rPr>
              <a:t>Election Mail Postage Statement Check Box</a:t>
            </a:r>
          </a:p>
          <a:p>
            <a:pPr marL="0" lvl="1" indent="0">
              <a:lnSpc>
                <a:spcPct val="110000"/>
              </a:lnSpc>
              <a:spcBef>
                <a:spcPts val="1800"/>
              </a:spcBef>
              <a:buClr>
                <a:prstClr val="black"/>
              </a:buClr>
              <a:buSzPct val="100000"/>
              <a:buNone/>
              <a:defRPr/>
            </a:pPr>
            <a:endParaRPr lang="en-US" sz="2000" dirty="0">
              <a:solidFill>
                <a:prstClr val="black"/>
              </a:solidFill>
              <a:cs typeface="Arial" panose="020B0604020202020204" pitchFamily="34" charset="0"/>
            </a:endParaRPr>
          </a:p>
        </p:txBody>
      </p:sp>
      <p:pic>
        <p:nvPicPr>
          <p:cNvPr id="4" name="Picture 10" descr="US191 Front">
            <a:extLst>
              <a:ext uri="{FF2B5EF4-FFF2-40B4-BE49-F238E27FC236}">
                <a16:creationId xmlns:a16="http://schemas.microsoft.com/office/drawing/2014/main" id="{9F68B5D2-5EEE-44EE-BEE7-189914F5CE9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89865" y="2623364"/>
            <a:ext cx="1209065" cy="2418129"/>
          </a:xfrm>
          <a:prstGeom prst="rect">
            <a:avLst/>
          </a:prstGeom>
          <a:noFill/>
          <a:ln>
            <a:noFill/>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US191 Back">
            <a:extLst>
              <a:ext uri="{FF2B5EF4-FFF2-40B4-BE49-F238E27FC236}">
                <a16:creationId xmlns:a16="http://schemas.microsoft.com/office/drawing/2014/main" id="{168F7CF0-5391-46DD-9730-FDAACF20F6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78207" y="2613176"/>
            <a:ext cx="1211164" cy="2418128"/>
          </a:xfrm>
          <a:prstGeom prst="rect">
            <a:avLst/>
          </a:prstGeom>
          <a:noFill/>
          <a:ln>
            <a:noFill/>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a:extLst>
              <a:ext uri="{FF2B5EF4-FFF2-40B4-BE49-F238E27FC236}">
                <a16:creationId xmlns:a16="http://schemas.microsoft.com/office/drawing/2014/main" id="{7E7FB7EF-42AA-4EDF-A04B-F5976341F40D}"/>
              </a:ext>
            </a:extLst>
          </p:cNvPr>
          <p:cNvGrpSpPr/>
          <p:nvPr/>
        </p:nvGrpSpPr>
        <p:grpSpPr>
          <a:xfrm>
            <a:off x="1542859" y="5190567"/>
            <a:ext cx="8746512" cy="1522881"/>
            <a:chOff x="932736" y="1156142"/>
            <a:chExt cx="7318293" cy="1274212"/>
          </a:xfrm>
          <a:effectLst>
            <a:outerShdw blurRad="50800" dist="38100" dir="2700000" algn="tl" rotWithShape="0">
              <a:prstClr val="black">
                <a:alpha val="40000"/>
              </a:prstClr>
            </a:outerShdw>
          </a:effectLst>
        </p:grpSpPr>
        <p:pic>
          <p:nvPicPr>
            <p:cNvPr id="8" name="Picture 4">
              <a:extLst>
                <a:ext uri="{FF2B5EF4-FFF2-40B4-BE49-F238E27FC236}">
                  <a16:creationId xmlns:a16="http://schemas.microsoft.com/office/drawing/2014/main" id="{5B682961-03B9-476D-BB77-43692F8AE4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2736" y="1156142"/>
              <a:ext cx="7314009" cy="907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08C45AE7-747F-4B81-BB6D-FBB33E049C7A}"/>
                </a:ext>
              </a:extLst>
            </p:cNvPr>
            <p:cNvSpPr/>
            <p:nvPr/>
          </p:nvSpPr>
          <p:spPr>
            <a:xfrm>
              <a:off x="5647354" y="1304499"/>
              <a:ext cx="2603675" cy="751516"/>
            </a:xfrm>
            <a:prstGeom prst="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F315E4F4-9298-49ED-8ED8-9ABA100C1994}"/>
                </a:ext>
              </a:extLst>
            </p:cNvPr>
            <p:cNvSpPr/>
            <p:nvPr/>
          </p:nvSpPr>
          <p:spPr>
            <a:xfrm>
              <a:off x="3529304" y="1304499"/>
              <a:ext cx="2066633" cy="751516"/>
            </a:xfrm>
            <a:prstGeom prst="rect">
              <a:avLst/>
            </a:prstGeom>
            <a:noFill/>
            <a:ln w="38100">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DC4EF04-BEAA-4C9A-BBEA-A81F37E6F2C5}"/>
                </a:ext>
              </a:extLst>
            </p:cNvPr>
            <p:cNvSpPr/>
            <p:nvPr/>
          </p:nvSpPr>
          <p:spPr>
            <a:xfrm>
              <a:off x="5647354" y="2056015"/>
              <a:ext cx="2603675" cy="220034"/>
            </a:xfrm>
            <a:prstGeom prst="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rgbClr val="FF0000"/>
                  </a:solidFill>
                  <a:latin typeface="Arial" panose="020B0604020202020204" pitchFamily="34" charset="0"/>
                  <a:cs typeface="Arial" panose="020B0604020202020204" pitchFamily="34" charset="0"/>
                </a:rPr>
                <a:t>Recipient / Voter Address</a:t>
              </a:r>
            </a:p>
          </p:txBody>
        </p:sp>
        <p:sp>
          <p:nvSpPr>
            <p:cNvPr id="12" name="Rectangle 11">
              <a:extLst>
                <a:ext uri="{FF2B5EF4-FFF2-40B4-BE49-F238E27FC236}">
                  <a16:creationId xmlns:a16="http://schemas.microsoft.com/office/drawing/2014/main" id="{1CC9D14A-C062-40DA-9E1C-32A1DBF83F29}"/>
                </a:ext>
              </a:extLst>
            </p:cNvPr>
            <p:cNvSpPr/>
            <p:nvPr/>
          </p:nvSpPr>
          <p:spPr>
            <a:xfrm>
              <a:off x="3529303" y="2056015"/>
              <a:ext cx="2066633" cy="220035"/>
            </a:xfrm>
            <a:prstGeom prst="rect">
              <a:avLst/>
            </a:prstGeom>
            <a:noFill/>
            <a:ln w="38100">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67" b="1" dirty="0">
                  <a:solidFill>
                    <a:srgbClr val="7030A0"/>
                  </a:solidFill>
                  <a:latin typeface="Arial" panose="020B0604020202020204" pitchFamily="34" charset="0"/>
                  <a:cs typeface="Arial" panose="020B0604020202020204" pitchFamily="34" charset="0"/>
                </a:rPr>
                <a:t>Matching Serial Number</a:t>
              </a:r>
            </a:p>
          </p:txBody>
        </p:sp>
        <p:sp>
          <p:nvSpPr>
            <p:cNvPr id="13" name="Rectangle 12">
              <a:extLst>
                <a:ext uri="{FF2B5EF4-FFF2-40B4-BE49-F238E27FC236}">
                  <a16:creationId xmlns:a16="http://schemas.microsoft.com/office/drawing/2014/main" id="{2F5BD48B-E847-46BC-A5F7-7A382927A0A9}"/>
                </a:ext>
              </a:extLst>
            </p:cNvPr>
            <p:cNvSpPr/>
            <p:nvPr/>
          </p:nvSpPr>
          <p:spPr>
            <a:xfrm>
              <a:off x="1411251" y="1304499"/>
              <a:ext cx="667577" cy="751516"/>
            </a:xfrm>
            <a:prstGeom prst="rect">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7C6036A6-F144-4065-9327-1090B2DAD05A}"/>
                </a:ext>
              </a:extLst>
            </p:cNvPr>
            <p:cNvSpPr/>
            <p:nvPr/>
          </p:nvSpPr>
          <p:spPr>
            <a:xfrm>
              <a:off x="1411251" y="2056015"/>
              <a:ext cx="667577" cy="374339"/>
            </a:xfrm>
            <a:prstGeom prst="rect">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dirty="0">
                  <a:solidFill>
                    <a:srgbClr val="5193C6"/>
                  </a:solidFill>
                  <a:latin typeface="Arial" panose="020B0604020202020204" pitchFamily="34" charset="0"/>
                  <a:cs typeface="Arial" panose="020B0604020202020204" pitchFamily="34" charset="0"/>
                </a:rPr>
                <a:t>Defined STID</a:t>
              </a:r>
            </a:p>
          </p:txBody>
        </p:sp>
        <p:sp>
          <p:nvSpPr>
            <p:cNvPr id="15" name="Rectangle 14">
              <a:extLst>
                <a:ext uri="{FF2B5EF4-FFF2-40B4-BE49-F238E27FC236}">
                  <a16:creationId xmlns:a16="http://schemas.microsoft.com/office/drawing/2014/main" id="{DDF96F03-DE97-49AB-B28C-56864549623B}"/>
                </a:ext>
              </a:extLst>
            </p:cNvPr>
            <p:cNvSpPr/>
            <p:nvPr/>
          </p:nvSpPr>
          <p:spPr>
            <a:xfrm>
              <a:off x="2130244" y="1304499"/>
              <a:ext cx="1347641" cy="751516"/>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178D240-3C46-4D32-9D53-903BA6CCCBE8}"/>
                </a:ext>
              </a:extLst>
            </p:cNvPr>
            <p:cNvSpPr/>
            <p:nvPr/>
          </p:nvSpPr>
          <p:spPr>
            <a:xfrm>
              <a:off x="2130243" y="2056015"/>
              <a:ext cx="1347641" cy="220034"/>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dirty="0">
                  <a:solidFill>
                    <a:srgbClr val="00B050"/>
                  </a:solidFill>
                  <a:latin typeface="Arial" panose="020B0604020202020204" pitchFamily="34" charset="0"/>
                  <a:cs typeface="Arial" panose="020B0604020202020204" pitchFamily="34" charset="0"/>
                </a:rPr>
                <a:t>Assigned MID</a:t>
              </a:r>
            </a:p>
          </p:txBody>
        </p:sp>
      </p:grpSp>
      <p:sp>
        <p:nvSpPr>
          <p:cNvPr id="2" name="TextBox 1">
            <a:extLst>
              <a:ext uri="{FF2B5EF4-FFF2-40B4-BE49-F238E27FC236}">
                <a16:creationId xmlns:a16="http://schemas.microsoft.com/office/drawing/2014/main" id="{B1BB37AF-8D16-47EC-83D3-99071F9C3E6D}"/>
              </a:ext>
            </a:extLst>
          </p:cNvPr>
          <p:cNvSpPr txBox="1"/>
          <p:nvPr/>
        </p:nvSpPr>
        <p:spPr>
          <a:xfrm>
            <a:off x="9463872" y="3523691"/>
            <a:ext cx="3111801" cy="461665"/>
          </a:xfrm>
          <a:prstGeom prst="rect">
            <a:avLst/>
          </a:prstGeom>
          <a:noFill/>
        </p:spPr>
        <p:txBody>
          <a:bodyPr wrap="square" rtlCol="0">
            <a:spAutoFit/>
          </a:bodyPr>
          <a:lstStyle/>
          <a:p>
            <a:pPr algn="ctr"/>
            <a:r>
              <a:rPr lang="en-US" sz="2400" b="1" dirty="0">
                <a:solidFill>
                  <a:schemeClr val="accent1">
                    <a:lumMod val="50000"/>
                  </a:schemeClr>
                </a:solidFill>
                <a:latin typeface="Arial" panose="020B0604020202020204" pitchFamily="34" charset="0"/>
                <a:cs typeface="Arial" panose="020B0604020202020204" pitchFamily="34" charset="0"/>
              </a:rPr>
              <a:t>Tag 191</a:t>
            </a:r>
          </a:p>
        </p:txBody>
      </p:sp>
      <p:sp>
        <p:nvSpPr>
          <p:cNvPr id="17" name="TextBox 16">
            <a:extLst>
              <a:ext uri="{FF2B5EF4-FFF2-40B4-BE49-F238E27FC236}">
                <a16:creationId xmlns:a16="http://schemas.microsoft.com/office/drawing/2014/main" id="{0CE8559F-99D7-4643-9A92-E2438960DC68}"/>
              </a:ext>
            </a:extLst>
          </p:cNvPr>
          <p:cNvSpPr txBox="1"/>
          <p:nvPr/>
        </p:nvSpPr>
        <p:spPr>
          <a:xfrm>
            <a:off x="10600885" y="5357538"/>
            <a:ext cx="1100276" cy="1200329"/>
          </a:xfrm>
          <a:prstGeom prst="rect">
            <a:avLst/>
          </a:prstGeom>
          <a:noFill/>
        </p:spPr>
        <p:txBody>
          <a:bodyPr wrap="square" rtlCol="0">
            <a:spAutoFit/>
          </a:bodyPr>
          <a:lstStyle/>
          <a:p>
            <a:pPr algn="ctr"/>
            <a:r>
              <a:rPr lang="en-US" sz="2400" b="1" dirty="0" err="1">
                <a:solidFill>
                  <a:schemeClr val="accent1">
                    <a:lumMod val="50000"/>
                  </a:schemeClr>
                </a:solidFill>
                <a:latin typeface="Arial" panose="020B0604020202020204" pitchFamily="34" charset="0"/>
                <a:cs typeface="Arial" panose="020B0604020202020204" pitchFamily="34" charset="0"/>
              </a:rPr>
              <a:t>IMb</a:t>
            </a:r>
            <a:r>
              <a:rPr lang="en-US" sz="2400" b="1" dirty="0">
                <a:solidFill>
                  <a:schemeClr val="accent1">
                    <a:lumMod val="50000"/>
                  </a:schemeClr>
                </a:solidFill>
                <a:latin typeface="Arial" panose="020B0604020202020204" pitchFamily="34" charset="0"/>
                <a:cs typeface="Arial" panose="020B0604020202020204" pitchFamily="34" charset="0"/>
              </a:rPr>
              <a:t> </a:t>
            </a:r>
          </a:p>
          <a:p>
            <a:pPr algn="ctr"/>
            <a:r>
              <a:rPr lang="en-US" sz="2400" b="1" dirty="0">
                <a:solidFill>
                  <a:schemeClr val="accent1">
                    <a:lumMod val="50000"/>
                  </a:schemeClr>
                </a:solidFill>
                <a:latin typeface="Arial" panose="020B0604020202020204" pitchFamily="34" charset="0"/>
                <a:cs typeface="Arial" panose="020B0604020202020204" pitchFamily="34" charset="0"/>
              </a:rPr>
              <a:t>&amp;</a:t>
            </a:r>
          </a:p>
          <a:p>
            <a:pPr algn="ctr"/>
            <a:r>
              <a:rPr lang="en-US" sz="2400" b="1" dirty="0">
                <a:solidFill>
                  <a:schemeClr val="accent1">
                    <a:lumMod val="50000"/>
                  </a:schemeClr>
                </a:solidFill>
                <a:latin typeface="Arial" panose="020B0604020202020204" pitchFamily="34" charset="0"/>
                <a:cs typeface="Arial" panose="020B0604020202020204" pitchFamily="34" charset="0"/>
              </a:rPr>
              <a:t>STID</a:t>
            </a:r>
          </a:p>
        </p:txBody>
      </p:sp>
      <p:sp>
        <p:nvSpPr>
          <p:cNvPr id="19" name="TextBox 18">
            <a:extLst>
              <a:ext uri="{FF2B5EF4-FFF2-40B4-BE49-F238E27FC236}">
                <a16:creationId xmlns:a16="http://schemas.microsoft.com/office/drawing/2014/main" id="{A71E2A0C-C6A8-4C13-80A6-8E9721EC85B3}"/>
              </a:ext>
            </a:extLst>
          </p:cNvPr>
          <p:cNvSpPr txBox="1"/>
          <p:nvPr/>
        </p:nvSpPr>
        <p:spPr>
          <a:xfrm>
            <a:off x="9847546" y="1070393"/>
            <a:ext cx="2344454" cy="1015663"/>
          </a:xfrm>
          <a:prstGeom prst="rect">
            <a:avLst/>
          </a:prstGeom>
          <a:noFill/>
        </p:spPr>
        <p:txBody>
          <a:bodyPr wrap="square" rtlCol="0">
            <a:spAutoFit/>
          </a:bodyPr>
          <a:lstStyle/>
          <a:p>
            <a:pPr algn="ctr"/>
            <a:r>
              <a:rPr lang="en-US" sz="2000" b="1" dirty="0">
                <a:solidFill>
                  <a:schemeClr val="accent1">
                    <a:lumMod val="50000"/>
                  </a:schemeClr>
                </a:solidFill>
                <a:latin typeface="Arial" panose="020B0604020202020204" pitchFamily="34" charset="0"/>
                <a:cs typeface="Arial" panose="020B0604020202020204" pitchFamily="34" charset="0"/>
              </a:rPr>
              <a:t>Official </a:t>
            </a:r>
          </a:p>
          <a:p>
            <a:pPr algn="ctr"/>
            <a:r>
              <a:rPr lang="en-US" sz="2000" b="1" dirty="0">
                <a:solidFill>
                  <a:schemeClr val="accent1">
                    <a:lumMod val="50000"/>
                  </a:schemeClr>
                </a:solidFill>
                <a:latin typeface="Arial" panose="020B0604020202020204" pitchFamily="34" charset="0"/>
                <a:cs typeface="Arial" panose="020B0604020202020204" pitchFamily="34" charset="0"/>
              </a:rPr>
              <a:t>Election Mail </a:t>
            </a:r>
          </a:p>
          <a:p>
            <a:pPr algn="ctr"/>
            <a:r>
              <a:rPr lang="en-US" sz="2000" b="1" dirty="0">
                <a:solidFill>
                  <a:schemeClr val="accent1">
                    <a:lumMod val="50000"/>
                  </a:schemeClr>
                </a:solidFill>
                <a:latin typeface="Arial" panose="020B0604020202020204" pitchFamily="34" charset="0"/>
                <a:cs typeface="Arial" panose="020B0604020202020204" pitchFamily="34" charset="0"/>
              </a:rPr>
              <a:t>Logo</a:t>
            </a:r>
          </a:p>
        </p:txBody>
      </p:sp>
      <p:sp>
        <p:nvSpPr>
          <p:cNvPr id="21" name="Title 1">
            <a:extLst>
              <a:ext uri="{FF2B5EF4-FFF2-40B4-BE49-F238E27FC236}">
                <a16:creationId xmlns:a16="http://schemas.microsoft.com/office/drawing/2014/main" id="{5159D80D-6958-9E87-106B-BDE10DB524A9}"/>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89871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75330E64-5CA6-5C45-51A1-A670B7959175}"/>
              </a:ext>
            </a:extLst>
          </p:cNvPr>
          <p:cNvPicPr>
            <a:picLocks noChangeAspect="1"/>
          </p:cNvPicPr>
          <p:nvPr/>
        </p:nvPicPr>
        <p:blipFill>
          <a:blip r:embed="rId3"/>
          <a:stretch>
            <a:fillRect/>
          </a:stretch>
        </p:blipFill>
        <p:spPr>
          <a:xfrm>
            <a:off x="8295424" y="1159733"/>
            <a:ext cx="3719303" cy="4791267"/>
          </a:xfrm>
          <a:prstGeom prst="rect">
            <a:avLst/>
          </a:prstGeom>
          <a:effectLst>
            <a:outerShdw blurRad="50800" dist="38100" dir="2700000" algn="tl" rotWithShape="0">
              <a:prstClr val="black">
                <a:alpha val="40000"/>
              </a:prstClr>
            </a:outerShdw>
          </a:effectLst>
        </p:spPr>
      </p:pic>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32838C-5203-4A13-8D33-AC09A091C092}" type="datetime1">
              <a:rPr lang="en-US" smtClean="0"/>
              <a:pPr/>
              <a:t>12/12/2023</a:t>
            </a:fld>
            <a:endParaRPr lang="en-US" dirty="0">
              <a:solidFill>
                <a:prstClr val="white">
                  <a:lumMod val="85000"/>
                </a:prstClr>
              </a:solidFill>
              <a:latin typeface="Arial" panose="020B0604020202020204"/>
            </a:endParaRPr>
          </a:p>
        </p:txBody>
      </p:sp>
      <p:sp>
        <p:nvSpPr>
          <p:cNvPr id="27" name="Text Placeholder 1">
            <a:extLst>
              <a:ext uri="{FF2B5EF4-FFF2-40B4-BE49-F238E27FC236}">
                <a16:creationId xmlns:a16="http://schemas.microsoft.com/office/drawing/2014/main" id="{AA252A51-2491-F749-A48C-413064863BC9}"/>
              </a:ext>
            </a:extLst>
          </p:cNvPr>
          <p:cNvSpPr txBox="1">
            <a:spLocks/>
          </p:cNvSpPr>
          <p:nvPr/>
        </p:nvSpPr>
        <p:spPr>
          <a:xfrm>
            <a:off x="244157" y="1247731"/>
            <a:ext cx="8579865" cy="4791267"/>
          </a:xfrm>
          <a:prstGeom prst="rect">
            <a:avLst/>
          </a:prstGeom>
        </p:spPr>
        <p:txBody>
          <a:bodyPr vert="horz" lIns="91440" tIns="45720" rIns="91440" bIns="45720" rtlCol="0">
            <a:noAutofit/>
          </a:bodyPr>
          <a:lstStyle>
            <a:lvl1pPr marL="230188" indent="-230188" algn="l" defTabSz="200025" rtl="0" eaLnBrk="1" latinLnBrk="0" hangingPunct="1">
              <a:lnSpc>
                <a:spcPct val="90000"/>
              </a:lnSpc>
              <a:spcBef>
                <a:spcPts val="0"/>
              </a:spcBef>
              <a:spcAft>
                <a:spcPts val="600"/>
              </a:spcAft>
              <a:buClr>
                <a:srgbClr val="4F81BD"/>
              </a:buClr>
              <a:buSzPct val="80000"/>
              <a:buFont typeface="Century Gothic" panose="020B0502020202020204" pitchFamily="34" charset="0"/>
              <a:buChar char="▐"/>
              <a:defRPr sz="2000" b="1" i="0" kern="1200">
                <a:solidFill>
                  <a:schemeClr val="tx1">
                    <a:lumMod val="75000"/>
                    <a:lumOff val="25000"/>
                  </a:schemeClr>
                </a:solidFill>
                <a:latin typeface="Century Gothic" panose="020B0502020202020204" pitchFamily="34" charset="0"/>
                <a:ea typeface="Raleway" charset="0"/>
                <a:cs typeface="Raleway" charset="0"/>
              </a:defRPr>
            </a:lvl1pPr>
            <a:lvl2pPr marL="568325" indent="-227013" algn="l" defTabSz="200025" rtl="0" eaLnBrk="1" latinLnBrk="0" hangingPunct="1">
              <a:lnSpc>
                <a:spcPct val="90000"/>
              </a:lnSpc>
              <a:spcBef>
                <a:spcPts val="0"/>
              </a:spcBef>
              <a:spcAft>
                <a:spcPts val="600"/>
              </a:spcAft>
              <a:buClr>
                <a:srgbClr val="4F81BD"/>
              </a:buClr>
              <a:buFont typeface="Wingdings" panose="05000000000000000000" pitchFamily="2" charset="2"/>
              <a:buChar char="§"/>
              <a:defRPr sz="2000" b="0" i="0" kern="1200">
                <a:solidFill>
                  <a:schemeClr val="tx1">
                    <a:lumMod val="75000"/>
                    <a:lumOff val="25000"/>
                  </a:schemeClr>
                </a:solidFill>
                <a:latin typeface="Century Gothic" panose="020B0502020202020204" pitchFamily="34" charset="0"/>
                <a:ea typeface="Raleway" charset="0"/>
                <a:cs typeface="Raleway" charset="0"/>
              </a:defRPr>
            </a:lvl2pPr>
            <a:lvl3pPr marL="798513" indent="-228600" algn="l" defTabSz="200025" rtl="0" eaLnBrk="1" latinLnBrk="0" hangingPunct="1">
              <a:lnSpc>
                <a:spcPct val="90000"/>
              </a:lnSpc>
              <a:spcBef>
                <a:spcPts val="0"/>
              </a:spcBef>
              <a:spcAft>
                <a:spcPts val="600"/>
              </a:spcAft>
              <a:buClr>
                <a:srgbClr val="4F81BD"/>
              </a:buClr>
              <a:buFont typeface="Arial"/>
              <a:buChar char="•"/>
              <a:defRPr sz="2000" b="0" i="0" kern="1200">
                <a:solidFill>
                  <a:schemeClr val="tx1">
                    <a:lumMod val="75000"/>
                    <a:lumOff val="25000"/>
                  </a:schemeClr>
                </a:solidFill>
                <a:latin typeface="Century Gothic" panose="020B0502020202020204" pitchFamily="34" charset="0"/>
                <a:ea typeface="Raleway" charset="0"/>
                <a:cs typeface="Raleway" charset="0"/>
              </a:defRPr>
            </a:lvl3pPr>
            <a:lvl4pPr marL="1030288" indent="-228600" algn="l" defTabSz="200025" rtl="0" eaLnBrk="1" latinLnBrk="0" hangingPunct="1">
              <a:lnSpc>
                <a:spcPct val="90000"/>
              </a:lnSpc>
              <a:spcBef>
                <a:spcPts val="0"/>
              </a:spcBef>
              <a:spcAft>
                <a:spcPts val="600"/>
              </a:spcAft>
              <a:buClr>
                <a:srgbClr val="4F81BD"/>
              </a:buClr>
              <a:buSzPct val="70000"/>
              <a:buFont typeface="Courier New" panose="02070309020205020404" pitchFamily="49" charset="0"/>
              <a:buChar char="o"/>
              <a:defRPr sz="2000" b="0" i="0" kern="1200">
                <a:solidFill>
                  <a:schemeClr val="tx1">
                    <a:lumMod val="75000"/>
                    <a:lumOff val="25000"/>
                  </a:schemeClr>
                </a:solidFill>
                <a:latin typeface="Century Gothic" panose="020B0502020202020204" pitchFamily="34" charset="0"/>
                <a:ea typeface="Raleway" charset="0"/>
                <a:cs typeface="Raleway" charset="0"/>
              </a:defRPr>
            </a:lvl4pPr>
            <a:lvl5pPr marL="1260475" indent="-228600" algn="l" defTabSz="200025" rtl="0" eaLnBrk="1" latinLnBrk="0" hangingPunct="1">
              <a:lnSpc>
                <a:spcPct val="90000"/>
              </a:lnSpc>
              <a:spcBef>
                <a:spcPts val="0"/>
              </a:spcBef>
              <a:spcAft>
                <a:spcPts val="600"/>
              </a:spcAft>
              <a:buClr>
                <a:srgbClr val="4F81BD"/>
              </a:buClr>
              <a:buFont typeface="Century Gothic" panose="020B0502020202020204" pitchFamily="34" charset="0"/>
              <a:buChar char="∙"/>
              <a:defRPr sz="2000" b="0" i="0" kern="1200">
                <a:solidFill>
                  <a:schemeClr val="tx1">
                    <a:lumMod val="75000"/>
                    <a:lumOff val="25000"/>
                  </a:schemeClr>
                </a:solidFill>
                <a:latin typeface="Century Gothic" panose="020B0502020202020204" pitchFamily="34" charset="0"/>
                <a:ea typeface="Raleway" charset="0"/>
                <a:cs typeface="Raleway"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lvl="1" indent="0">
              <a:lnSpc>
                <a:spcPct val="100000"/>
              </a:lnSpc>
              <a:spcAft>
                <a:spcPts val="0"/>
              </a:spcAft>
              <a:buSzPct val="80000"/>
              <a:buNone/>
            </a:pPr>
            <a:r>
              <a:rPr lang="en-US" sz="2800" b="1" dirty="0">
                <a:solidFill>
                  <a:schemeClr val="accent1">
                    <a:lumMod val="50000"/>
                  </a:schemeClr>
                </a:solidFill>
                <a:latin typeface="Arial" panose="020B0604020202020204" pitchFamily="34" charset="0"/>
                <a:cs typeface="Arial" panose="020B0604020202020204" pitchFamily="34" charset="0"/>
              </a:rPr>
              <a:t>Ballot Mail Service Type Identifiers (STIDs):</a:t>
            </a:r>
            <a:r>
              <a:rPr lang="en-US" sz="2800" dirty="0">
                <a:solidFill>
                  <a:schemeClr val="accent1">
                    <a:lumMod val="50000"/>
                  </a:schemeClr>
                </a:solidFill>
                <a:latin typeface="Arial" panose="020B0604020202020204" pitchFamily="34" charset="0"/>
                <a:cs typeface="Arial" panose="020B0604020202020204" pitchFamily="34" charset="0"/>
              </a:rPr>
              <a:t> </a:t>
            </a:r>
            <a:endParaRPr lang="en-US" sz="2800" b="1" dirty="0">
              <a:solidFill>
                <a:schemeClr val="accent1">
                  <a:lumMod val="50000"/>
                </a:schemeClr>
              </a:solidFill>
              <a:latin typeface="Arial" panose="020B0604020202020204" pitchFamily="34" charset="0"/>
              <a:cs typeface="Arial" panose="020B0604020202020204" pitchFamily="34" charset="0"/>
            </a:endParaRPr>
          </a:p>
          <a:p>
            <a:pPr marL="613803" lvl="3" indent="0">
              <a:spcBef>
                <a:spcPts val="600"/>
              </a:spcBef>
              <a:buSzPct val="80000"/>
              <a:buNone/>
            </a:pPr>
            <a:r>
              <a:rPr lang="en-US" sz="2600" b="1" dirty="0">
                <a:solidFill>
                  <a:schemeClr val="accent1">
                    <a:lumMod val="50000"/>
                  </a:schemeClr>
                </a:solidFill>
                <a:latin typeface="Arial" panose="020B0604020202020204" pitchFamily="34" charset="0"/>
                <a:cs typeface="Arial" panose="020B0604020202020204" pitchFamily="34" charset="0"/>
              </a:rPr>
              <a:t>Outbound Ballot Mail</a:t>
            </a:r>
          </a:p>
          <a:p>
            <a:pPr marL="974701" lvl="2" indent="-230182" defTabSz="914377">
              <a:buSzPct val="80000"/>
              <a:buFont typeface="Wingdings" panose="05000000000000000000" pitchFamily="2" charset="2"/>
              <a:buChar char="§"/>
            </a:pPr>
            <a:r>
              <a:rPr lang="en-US" sz="2600" dirty="0">
                <a:solidFill>
                  <a:schemeClr val="accent1">
                    <a:lumMod val="50000"/>
                  </a:schemeClr>
                </a:solidFill>
                <a:latin typeface="Arial" panose="020B0604020202020204" pitchFamily="34" charset="0"/>
                <a:ea typeface="+mn-ea"/>
                <a:cs typeface="Arial" panose="020B0604020202020204" pitchFamily="34" charset="0"/>
              </a:rPr>
              <a:t>Use appropriate Ballot Mail STID for First-Class Mail</a:t>
            </a:r>
            <a:r>
              <a:rPr lang="en-US" sz="2600" baseline="30000" dirty="0">
                <a:solidFill>
                  <a:schemeClr val="accent1">
                    <a:lumMod val="50000"/>
                  </a:schemeClr>
                </a:solidFill>
                <a:latin typeface="Arial" panose="020B0604020202020204" pitchFamily="34" charset="0"/>
                <a:ea typeface="+mn-ea"/>
                <a:cs typeface="Arial" panose="020B0604020202020204" pitchFamily="34" charset="0"/>
              </a:rPr>
              <a:t>®</a:t>
            </a:r>
            <a:r>
              <a:rPr lang="en-US" sz="2600" dirty="0">
                <a:solidFill>
                  <a:schemeClr val="accent1">
                    <a:lumMod val="50000"/>
                  </a:schemeClr>
                </a:solidFill>
                <a:latin typeface="Arial" panose="020B0604020202020204" pitchFamily="34" charset="0"/>
                <a:ea typeface="+mn-ea"/>
                <a:cs typeface="Arial" panose="020B0604020202020204" pitchFamily="34" charset="0"/>
              </a:rPr>
              <a:t> ballots or Marketing Mail</a:t>
            </a:r>
            <a:r>
              <a:rPr lang="en-US" sz="2600" baseline="30000" dirty="0">
                <a:solidFill>
                  <a:schemeClr val="accent1">
                    <a:lumMod val="50000"/>
                  </a:schemeClr>
                </a:solidFill>
                <a:latin typeface="Arial" panose="020B0604020202020204" pitchFamily="34" charset="0"/>
                <a:ea typeface="+mn-ea"/>
                <a:cs typeface="Arial" panose="020B0604020202020204" pitchFamily="34" charset="0"/>
              </a:rPr>
              <a:t>®</a:t>
            </a:r>
            <a:r>
              <a:rPr lang="en-US" sz="2600" dirty="0">
                <a:solidFill>
                  <a:schemeClr val="accent1">
                    <a:lumMod val="50000"/>
                  </a:schemeClr>
                </a:solidFill>
                <a:latin typeface="Arial" panose="020B0604020202020204" pitchFamily="34" charset="0"/>
                <a:ea typeface="+mn-ea"/>
                <a:cs typeface="Arial" panose="020B0604020202020204" pitchFamily="34" charset="0"/>
              </a:rPr>
              <a:t> ballots and services desired</a:t>
            </a:r>
          </a:p>
          <a:p>
            <a:pPr marL="613803" lvl="3" indent="0">
              <a:spcBef>
                <a:spcPts val="600"/>
              </a:spcBef>
              <a:buSzPct val="80000"/>
              <a:buNone/>
            </a:pPr>
            <a:r>
              <a:rPr lang="en-US" sz="2600" b="1" dirty="0">
                <a:solidFill>
                  <a:schemeClr val="accent1">
                    <a:lumMod val="50000"/>
                  </a:schemeClr>
                </a:solidFill>
                <a:latin typeface="Arial" panose="020B0604020202020204" pitchFamily="34" charset="0"/>
                <a:cs typeface="Arial" panose="020B0604020202020204" pitchFamily="34" charset="0"/>
              </a:rPr>
              <a:t>Return Ballots</a:t>
            </a:r>
          </a:p>
          <a:p>
            <a:pPr marL="974701" lvl="2" indent="-230182" defTabSz="914377">
              <a:buSzPct val="80000"/>
              <a:buFont typeface="Wingdings" panose="05000000000000000000" pitchFamily="2" charset="2"/>
              <a:buChar char="§"/>
            </a:pPr>
            <a:r>
              <a:rPr lang="en-US" sz="2600" dirty="0">
                <a:solidFill>
                  <a:schemeClr val="accent1">
                    <a:lumMod val="50000"/>
                  </a:schemeClr>
                </a:solidFill>
                <a:latin typeface="Arial" panose="020B0604020202020204" pitchFamily="34" charset="0"/>
                <a:ea typeface="+mn-ea"/>
                <a:cs typeface="Arial" panose="020B0604020202020204" pitchFamily="34" charset="0"/>
              </a:rPr>
              <a:t>Use appropriate Ballot Return STID for payment method</a:t>
            </a:r>
          </a:p>
        </p:txBody>
      </p:sp>
      <p:sp>
        <p:nvSpPr>
          <p:cNvPr id="28" name="TextBox 27">
            <a:extLst>
              <a:ext uri="{FF2B5EF4-FFF2-40B4-BE49-F238E27FC236}">
                <a16:creationId xmlns:a16="http://schemas.microsoft.com/office/drawing/2014/main" id="{5E7B6B20-B62E-CC6C-D9DB-831431B08B40}"/>
              </a:ext>
            </a:extLst>
          </p:cNvPr>
          <p:cNvSpPr txBox="1"/>
          <p:nvPr/>
        </p:nvSpPr>
        <p:spPr>
          <a:xfrm>
            <a:off x="203713" y="5087049"/>
            <a:ext cx="10567047" cy="523220"/>
          </a:xfrm>
          <a:prstGeom prst="rect">
            <a:avLst/>
          </a:prstGeom>
          <a:noFill/>
        </p:spPr>
        <p:txBody>
          <a:bodyPr wrap="square" rtlCol="0">
            <a:spAutoFit/>
          </a:bodyPr>
          <a:lstStyle/>
          <a:p>
            <a:r>
              <a:rPr lang="en-US" sz="2800" i="1" dirty="0">
                <a:solidFill>
                  <a:schemeClr val="accent1">
                    <a:lumMod val="50000"/>
                  </a:schemeClr>
                </a:solidFill>
                <a:latin typeface="Arial" panose="020B0604020202020204" pitchFamily="34" charset="0"/>
                <a:cs typeface="Arial" panose="020B0604020202020204" pitchFamily="34" charset="0"/>
              </a:rPr>
              <a:t>Ballot Mail STIDs are reserved for ballots </a:t>
            </a:r>
            <a:r>
              <a:rPr lang="en-US" sz="2800" b="1" i="1" dirty="0">
                <a:solidFill>
                  <a:schemeClr val="accent1">
                    <a:lumMod val="50000"/>
                  </a:schemeClr>
                </a:solidFill>
                <a:latin typeface="Arial" panose="020B0604020202020204" pitchFamily="34" charset="0"/>
                <a:cs typeface="Arial" panose="020B0604020202020204" pitchFamily="34" charset="0"/>
              </a:rPr>
              <a:t>ONLY</a:t>
            </a:r>
            <a:r>
              <a:rPr lang="en-US" sz="2800" i="1" dirty="0">
                <a:solidFill>
                  <a:schemeClr val="accent1">
                    <a:lumMod val="50000"/>
                  </a:schemeClr>
                </a:solidFill>
                <a:latin typeface="Arial" panose="020B0604020202020204" pitchFamily="34" charset="0"/>
                <a:cs typeface="Arial" panose="020B0604020202020204" pitchFamily="34" charset="0"/>
              </a:rPr>
              <a:t>.</a:t>
            </a:r>
          </a:p>
        </p:txBody>
      </p:sp>
      <p:grpSp>
        <p:nvGrpSpPr>
          <p:cNvPr id="39" name="Group 38">
            <a:extLst>
              <a:ext uri="{FF2B5EF4-FFF2-40B4-BE49-F238E27FC236}">
                <a16:creationId xmlns:a16="http://schemas.microsoft.com/office/drawing/2014/main" id="{CB0C21D4-A8A5-F840-E6CC-FEA9EA658DE3}"/>
              </a:ext>
            </a:extLst>
          </p:cNvPr>
          <p:cNvGrpSpPr/>
          <p:nvPr/>
        </p:nvGrpSpPr>
        <p:grpSpPr>
          <a:xfrm>
            <a:off x="242210" y="2363407"/>
            <a:ext cx="741124" cy="759984"/>
            <a:chOff x="522561" y="2499281"/>
            <a:chExt cx="366499" cy="368388"/>
          </a:xfrm>
        </p:grpSpPr>
        <p:grpSp>
          <p:nvGrpSpPr>
            <p:cNvPr id="40" name="Group 39">
              <a:extLst>
                <a:ext uri="{FF2B5EF4-FFF2-40B4-BE49-F238E27FC236}">
                  <a16:creationId xmlns:a16="http://schemas.microsoft.com/office/drawing/2014/main" id="{583F950C-2D23-B941-506A-0D4ED861BB16}"/>
                </a:ext>
              </a:extLst>
            </p:cNvPr>
            <p:cNvGrpSpPr/>
            <p:nvPr/>
          </p:nvGrpSpPr>
          <p:grpSpPr>
            <a:xfrm>
              <a:off x="522561" y="2499281"/>
              <a:ext cx="366499" cy="368388"/>
              <a:chOff x="4833937" y="2508249"/>
              <a:chExt cx="615951" cy="619126"/>
            </a:xfrm>
          </p:grpSpPr>
          <p:sp>
            <p:nvSpPr>
              <p:cNvPr id="42" name="Rectangle 5">
                <a:extLst>
                  <a:ext uri="{FF2B5EF4-FFF2-40B4-BE49-F238E27FC236}">
                    <a16:creationId xmlns:a16="http://schemas.microsoft.com/office/drawing/2014/main" id="{E75EE7FC-13EB-688C-B431-D483CAA0E464}"/>
                  </a:ext>
                </a:extLst>
              </p:cNvPr>
              <p:cNvSpPr>
                <a:spLocks noChangeArrowheads="1"/>
              </p:cNvSpPr>
              <p:nvPr/>
            </p:nvSpPr>
            <p:spPr bwMode="auto">
              <a:xfrm>
                <a:off x="4833937" y="2508249"/>
                <a:ext cx="615950" cy="619125"/>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endParaRPr lang="id-ID" sz="2400" dirty="0"/>
              </a:p>
            </p:txBody>
          </p:sp>
          <p:sp>
            <p:nvSpPr>
              <p:cNvPr id="43" name="Freeform 6">
                <a:extLst>
                  <a:ext uri="{FF2B5EF4-FFF2-40B4-BE49-F238E27FC236}">
                    <a16:creationId xmlns:a16="http://schemas.microsoft.com/office/drawing/2014/main" id="{FE99F8D9-D8D1-16BF-C41A-ECEA6D1D0D26}"/>
                  </a:ext>
                </a:extLst>
              </p:cNvPr>
              <p:cNvSpPr>
                <a:spLocks/>
              </p:cNvSpPr>
              <p:nvPr/>
            </p:nvSpPr>
            <p:spPr bwMode="auto">
              <a:xfrm>
                <a:off x="4833938" y="2508250"/>
                <a:ext cx="615950" cy="619125"/>
              </a:xfrm>
              <a:custGeom>
                <a:avLst/>
                <a:gdLst>
                  <a:gd name="T0" fmla="*/ 388 w 388"/>
                  <a:gd name="T1" fmla="*/ 390 h 390"/>
                  <a:gd name="T2" fmla="*/ 0 w 388"/>
                  <a:gd name="T3" fmla="*/ 0 h 390"/>
                  <a:gd name="T4" fmla="*/ 388 w 388"/>
                  <a:gd name="T5" fmla="*/ 0 h 390"/>
                  <a:gd name="T6" fmla="*/ 388 w 388"/>
                  <a:gd name="T7" fmla="*/ 390 h 390"/>
                </a:gdLst>
                <a:ahLst/>
                <a:cxnLst>
                  <a:cxn ang="0">
                    <a:pos x="T0" y="T1"/>
                  </a:cxn>
                  <a:cxn ang="0">
                    <a:pos x="T2" y="T3"/>
                  </a:cxn>
                  <a:cxn ang="0">
                    <a:pos x="T4" y="T5"/>
                  </a:cxn>
                  <a:cxn ang="0">
                    <a:pos x="T6" y="T7"/>
                  </a:cxn>
                </a:cxnLst>
                <a:rect l="0" t="0" r="r" b="b"/>
                <a:pathLst>
                  <a:path w="388" h="390">
                    <a:moveTo>
                      <a:pt x="388" y="390"/>
                    </a:moveTo>
                    <a:lnTo>
                      <a:pt x="0" y="0"/>
                    </a:lnTo>
                    <a:lnTo>
                      <a:pt x="388" y="0"/>
                    </a:lnTo>
                    <a:lnTo>
                      <a:pt x="388" y="39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id-ID" sz="2400"/>
              </a:p>
            </p:txBody>
          </p:sp>
        </p:grpSp>
        <p:pic>
          <p:nvPicPr>
            <p:cNvPr id="41" name="Graphic 40">
              <a:extLst>
                <a:ext uri="{FF2B5EF4-FFF2-40B4-BE49-F238E27FC236}">
                  <a16:creationId xmlns:a16="http://schemas.microsoft.com/office/drawing/2014/main" id="{38EFC850-7C74-B136-9029-C52618E9A7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2472" y="2564825"/>
              <a:ext cx="226670" cy="237295"/>
            </a:xfrm>
            <a:prstGeom prst="rect">
              <a:avLst/>
            </a:prstGeom>
          </p:spPr>
        </p:pic>
      </p:grpSp>
      <p:grpSp>
        <p:nvGrpSpPr>
          <p:cNvPr id="44" name="Group 43">
            <a:extLst>
              <a:ext uri="{FF2B5EF4-FFF2-40B4-BE49-F238E27FC236}">
                <a16:creationId xmlns:a16="http://schemas.microsoft.com/office/drawing/2014/main" id="{AFEB894D-2499-CB25-6B60-55E818063C21}"/>
              </a:ext>
            </a:extLst>
          </p:cNvPr>
          <p:cNvGrpSpPr/>
          <p:nvPr/>
        </p:nvGrpSpPr>
        <p:grpSpPr>
          <a:xfrm>
            <a:off x="244157" y="3900653"/>
            <a:ext cx="741136" cy="759985"/>
            <a:chOff x="522556" y="3208015"/>
            <a:chExt cx="366504" cy="368387"/>
          </a:xfrm>
        </p:grpSpPr>
        <p:grpSp>
          <p:nvGrpSpPr>
            <p:cNvPr id="45" name="Group 44">
              <a:extLst>
                <a:ext uri="{FF2B5EF4-FFF2-40B4-BE49-F238E27FC236}">
                  <a16:creationId xmlns:a16="http://schemas.microsoft.com/office/drawing/2014/main" id="{1495AADB-3A26-86ED-A3A4-69F02CD97EF8}"/>
                </a:ext>
              </a:extLst>
            </p:cNvPr>
            <p:cNvGrpSpPr/>
            <p:nvPr/>
          </p:nvGrpSpPr>
          <p:grpSpPr>
            <a:xfrm>
              <a:off x="522556" y="3208015"/>
              <a:ext cx="366504" cy="368387"/>
              <a:chOff x="4833933" y="2508249"/>
              <a:chExt cx="615960" cy="619125"/>
            </a:xfrm>
          </p:grpSpPr>
          <p:sp>
            <p:nvSpPr>
              <p:cNvPr id="47" name="Rectangle 5">
                <a:extLst>
                  <a:ext uri="{FF2B5EF4-FFF2-40B4-BE49-F238E27FC236}">
                    <a16:creationId xmlns:a16="http://schemas.microsoft.com/office/drawing/2014/main" id="{21268B82-F8F3-ABBA-EB79-F396107521A7}"/>
                  </a:ext>
                </a:extLst>
              </p:cNvPr>
              <p:cNvSpPr>
                <a:spLocks noChangeArrowheads="1"/>
              </p:cNvSpPr>
              <p:nvPr/>
            </p:nvSpPr>
            <p:spPr bwMode="auto">
              <a:xfrm>
                <a:off x="4833943" y="2508249"/>
                <a:ext cx="615950" cy="619125"/>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endParaRPr lang="id-ID" sz="2400" dirty="0"/>
              </a:p>
            </p:txBody>
          </p:sp>
          <p:sp>
            <p:nvSpPr>
              <p:cNvPr id="48" name="Freeform 6">
                <a:extLst>
                  <a:ext uri="{FF2B5EF4-FFF2-40B4-BE49-F238E27FC236}">
                    <a16:creationId xmlns:a16="http://schemas.microsoft.com/office/drawing/2014/main" id="{56A39D15-1ACC-6F56-6F5A-CC2520563DC9}"/>
                  </a:ext>
                </a:extLst>
              </p:cNvPr>
              <p:cNvSpPr>
                <a:spLocks/>
              </p:cNvSpPr>
              <p:nvPr/>
            </p:nvSpPr>
            <p:spPr bwMode="auto">
              <a:xfrm>
                <a:off x="4833933" y="2508249"/>
                <a:ext cx="615950" cy="619125"/>
              </a:xfrm>
              <a:custGeom>
                <a:avLst/>
                <a:gdLst>
                  <a:gd name="T0" fmla="*/ 388 w 388"/>
                  <a:gd name="T1" fmla="*/ 390 h 390"/>
                  <a:gd name="T2" fmla="*/ 0 w 388"/>
                  <a:gd name="T3" fmla="*/ 0 h 390"/>
                  <a:gd name="T4" fmla="*/ 388 w 388"/>
                  <a:gd name="T5" fmla="*/ 0 h 390"/>
                  <a:gd name="T6" fmla="*/ 388 w 388"/>
                  <a:gd name="T7" fmla="*/ 390 h 390"/>
                </a:gdLst>
                <a:ahLst/>
                <a:cxnLst>
                  <a:cxn ang="0">
                    <a:pos x="T0" y="T1"/>
                  </a:cxn>
                  <a:cxn ang="0">
                    <a:pos x="T2" y="T3"/>
                  </a:cxn>
                  <a:cxn ang="0">
                    <a:pos x="T4" y="T5"/>
                  </a:cxn>
                  <a:cxn ang="0">
                    <a:pos x="T6" y="T7"/>
                  </a:cxn>
                </a:cxnLst>
                <a:rect l="0" t="0" r="r" b="b"/>
                <a:pathLst>
                  <a:path w="388" h="390">
                    <a:moveTo>
                      <a:pt x="388" y="390"/>
                    </a:moveTo>
                    <a:lnTo>
                      <a:pt x="0" y="0"/>
                    </a:lnTo>
                    <a:lnTo>
                      <a:pt x="388" y="0"/>
                    </a:lnTo>
                    <a:lnTo>
                      <a:pt x="388" y="39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id-ID" sz="2400"/>
              </a:p>
            </p:txBody>
          </p:sp>
        </p:grpSp>
        <p:pic>
          <p:nvPicPr>
            <p:cNvPr id="46" name="Graphic 45">
              <a:extLst>
                <a:ext uri="{FF2B5EF4-FFF2-40B4-BE49-F238E27FC236}">
                  <a16:creationId xmlns:a16="http://schemas.microsoft.com/office/drawing/2014/main" id="{CAAF854B-9392-63BD-A253-C563B733FE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542" y="3267580"/>
              <a:ext cx="228600" cy="243114"/>
            </a:xfrm>
            <a:prstGeom prst="rect">
              <a:avLst/>
            </a:prstGeom>
          </p:spPr>
        </p:pic>
      </p:grpSp>
      <p:sp>
        <p:nvSpPr>
          <p:cNvPr id="55" name="Title 1">
            <a:extLst>
              <a:ext uri="{FF2B5EF4-FFF2-40B4-BE49-F238E27FC236}">
                <a16:creationId xmlns:a16="http://schemas.microsoft.com/office/drawing/2014/main" id="{349FD1D7-9994-CB5F-FA6B-B0AD00234C47}"/>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Official Ballot Mail Tracking</a:t>
            </a:r>
          </a:p>
        </p:txBody>
      </p:sp>
    </p:spTree>
    <p:extLst>
      <p:ext uri="{BB962C8B-B14F-4D97-AF65-F5344CB8AC3E}">
        <p14:creationId xmlns:p14="http://schemas.microsoft.com/office/powerpoint/2010/main" val="28889938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18B7EB3-AEF3-47B3-9C62-B5420274C29B}"/>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32838C-5203-4A13-8D33-AC09A091C092}" type="datetime1">
              <a:rPr lang="en-US" smtClean="0"/>
              <a:pPr/>
              <a:t>12/12/2023</a:t>
            </a:fld>
            <a:endParaRPr lang="en-US" dirty="0"/>
          </a:p>
        </p:txBody>
      </p:sp>
      <p:sp>
        <p:nvSpPr>
          <p:cNvPr id="8" name="Content Placeholder 2">
            <a:extLst>
              <a:ext uri="{FF2B5EF4-FFF2-40B4-BE49-F238E27FC236}">
                <a16:creationId xmlns:a16="http://schemas.microsoft.com/office/drawing/2014/main" id="{999ADFC9-1CBD-4855-A301-33EABD11BACE}"/>
              </a:ext>
            </a:extLst>
          </p:cNvPr>
          <p:cNvSpPr txBox="1">
            <a:spLocks/>
          </p:cNvSpPr>
          <p:nvPr/>
        </p:nvSpPr>
        <p:spPr>
          <a:xfrm>
            <a:off x="6283225" y="3331118"/>
            <a:ext cx="5821872" cy="1677262"/>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lternative Methods</a:t>
            </a:r>
            <a:r>
              <a:rPr lang="en-US" altLang="en-US" b="1" kern="0" dirty="0">
                <a:solidFill>
                  <a:srgbClr val="002060"/>
                </a:solidFill>
              </a:rPr>
              <a:t> </a:t>
            </a:r>
          </a:p>
          <a:p>
            <a:pPr marL="0" indent="0">
              <a:spcBef>
                <a:spcPts val="600"/>
              </a:spcBef>
              <a:spcAft>
                <a:spcPts val="600"/>
              </a:spcAft>
              <a:buClr>
                <a:srgbClr val="002060"/>
              </a:buClr>
              <a:buNone/>
            </a:pPr>
            <a:r>
              <a:rPr lang="en-US" altLang="en-US" sz="2000" kern="0" dirty="0">
                <a:solidFill>
                  <a:srgbClr val="002060"/>
                </a:solidFill>
              </a:rPr>
              <a:t>Pre-approved </a:t>
            </a:r>
            <a:r>
              <a:rPr lang="en-US" altLang="en-US" sz="2000" b="1" kern="0" dirty="0">
                <a:solidFill>
                  <a:srgbClr val="002060"/>
                </a:solidFill>
              </a:rPr>
              <a:t>exceptions available for First-Class</a:t>
            </a:r>
            <a:r>
              <a:rPr lang="en-US" altLang="en-US" sz="2000" b="1" kern="0" baseline="30000" dirty="0">
                <a:solidFill>
                  <a:srgbClr val="002060"/>
                </a:solidFill>
              </a:rPr>
              <a:t>®</a:t>
            </a:r>
            <a:r>
              <a:rPr lang="en-US" altLang="en-US" sz="2000" b="1" kern="0" dirty="0">
                <a:solidFill>
                  <a:srgbClr val="002060"/>
                </a:solidFill>
              </a:rPr>
              <a:t> Mail</a:t>
            </a:r>
          </a:p>
          <a:p>
            <a:pPr>
              <a:spcBef>
                <a:spcPts val="600"/>
              </a:spcBef>
              <a:spcAft>
                <a:spcPts val="600"/>
              </a:spcAft>
              <a:buClr>
                <a:srgbClr val="002060"/>
              </a:buClr>
              <a:buFontTx/>
              <a:buChar char="-"/>
            </a:pPr>
            <a:r>
              <a:rPr lang="en-US" altLang="en-US" sz="2000" kern="0" dirty="0">
                <a:solidFill>
                  <a:srgbClr val="002060"/>
                </a:solidFill>
              </a:rPr>
              <a:t>Mailer is tested to demonstrate their mailing list is 99% accurate </a:t>
            </a:r>
          </a:p>
          <a:p>
            <a:pPr>
              <a:spcBef>
                <a:spcPts val="600"/>
              </a:spcBef>
              <a:spcAft>
                <a:spcPts val="600"/>
              </a:spcAft>
              <a:buClr>
                <a:srgbClr val="002060"/>
              </a:buClr>
              <a:buFontTx/>
              <a:buChar char="-"/>
            </a:pPr>
            <a:r>
              <a:rPr lang="en-US" altLang="en-US" sz="2000" kern="0" dirty="0">
                <a:solidFill>
                  <a:srgbClr val="002060"/>
                </a:solidFill>
              </a:rPr>
              <a:t>Documented Legal Restraint that prohibits updating of list without customer approval</a:t>
            </a:r>
          </a:p>
        </p:txBody>
      </p:sp>
      <p:sp>
        <p:nvSpPr>
          <p:cNvPr id="6" name="Rectangle 5">
            <a:extLst>
              <a:ext uri="{FF2B5EF4-FFF2-40B4-BE49-F238E27FC236}">
                <a16:creationId xmlns:a16="http://schemas.microsoft.com/office/drawing/2014/main" id="{1B26151F-B920-4337-B347-F36CD3359A05}"/>
              </a:ext>
            </a:extLst>
          </p:cNvPr>
          <p:cNvSpPr/>
          <p:nvPr/>
        </p:nvSpPr>
        <p:spPr>
          <a:xfrm>
            <a:off x="1589" y="-93744"/>
            <a:ext cx="12188824" cy="886268"/>
          </a:xfrm>
          <a:prstGeom prst="rect">
            <a:avLst/>
          </a:prstGeom>
          <a:solidFill>
            <a:schemeClr val="accent3">
              <a:lumMod val="50000"/>
            </a:schemeClr>
          </a:solidFill>
          <a:ln>
            <a:solidFill>
              <a:schemeClr val="accent1"/>
            </a:solidFill>
          </a:ln>
        </p:spPr>
        <p:txBody>
          <a:bodyPr wrap="square">
            <a:spAutoFit/>
          </a:bodyPr>
          <a:lstStyle/>
          <a:p>
            <a:pPr marL="431800" marR="217170" algn="ctr">
              <a:lnSpc>
                <a:spcPct val="112000"/>
              </a:lnSpc>
              <a:spcBef>
                <a:spcPts val="430"/>
              </a:spcBef>
            </a:pPr>
            <a:r>
              <a:rPr lang="en-US" sz="2400" dirty="0">
                <a:solidFill>
                  <a:schemeClr val="bg1"/>
                </a:solidFill>
                <a:latin typeface="HelveticaNeueLT Std Lt"/>
                <a:ea typeface="HelveticaNeueLT Std Lt"/>
                <a:cs typeface="HelveticaNeueLT Std Lt"/>
              </a:rPr>
              <a:t>Election Officials that want to receive discounted First-Class</a:t>
            </a:r>
            <a:r>
              <a:rPr lang="en-US" altLang="en-US" sz="2400" b="1" kern="0" baseline="30000" dirty="0">
                <a:solidFill>
                  <a:schemeClr val="bg1"/>
                </a:solidFill>
              </a:rPr>
              <a:t>®</a:t>
            </a:r>
            <a:r>
              <a:rPr lang="en-US" sz="2400" dirty="0">
                <a:solidFill>
                  <a:schemeClr val="bg1"/>
                </a:solidFill>
                <a:latin typeface="HelveticaNeueLT Std Lt"/>
                <a:ea typeface="HelveticaNeueLT Std Lt"/>
                <a:cs typeface="HelveticaNeueLT Std Lt"/>
              </a:rPr>
              <a:t> and USPS Marketing Mail</a:t>
            </a:r>
            <a:r>
              <a:rPr lang="en-US" altLang="en-US" sz="2400" b="1" kern="0" baseline="30000" dirty="0">
                <a:solidFill>
                  <a:schemeClr val="bg1"/>
                </a:solidFill>
              </a:rPr>
              <a:t>®</a:t>
            </a:r>
            <a:r>
              <a:rPr lang="en-US" sz="2400" dirty="0">
                <a:solidFill>
                  <a:schemeClr val="bg1"/>
                </a:solidFill>
                <a:latin typeface="HelveticaNeueLT Std Lt"/>
                <a:ea typeface="HelveticaNeueLT Std Lt"/>
                <a:cs typeface="HelveticaNeueLT Std Lt"/>
              </a:rPr>
              <a:t> postage rates are required to use an approved Move Update option</a:t>
            </a:r>
          </a:p>
        </p:txBody>
      </p:sp>
      <p:sp>
        <p:nvSpPr>
          <p:cNvPr id="14" name="Content Placeholder 2">
            <a:extLst>
              <a:ext uri="{FF2B5EF4-FFF2-40B4-BE49-F238E27FC236}">
                <a16:creationId xmlns:a16="http://schemas.microsoft.com/office/drawing/2014/main" id="{3B82AA88-46F5-4563-A42C-6A38D7CC9998}"/>
              </a:ext>
            </a:extLst>
          </p:cNvPr>
          <p:cNvSpPr txBox="1">
            <a:spLocks/>
          </p:cNvSpPr>
          <p:nvPr/>
        </p:nvSpPr>
        <p:spPr>
          <a:xfrm>
            <a:off x="243580" y="974333"/>
            <a:ext cx="5758809" cy="2554247"/>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err="1">
                <a:solidFill>
                  <a:srgbClr val="002060"/>
                </a:solidFill>
              </a:rPr>
              <a:t>NCOA</a:t>
            </a:r>
            <a:r>
              <a:rPr lang="en-US" altLang="en-US" b="1" u="sng" kern="0" baseline="30000" dirty="0" err="1">
                <a:solidFill>
                  <a:srgbClr val="002060"/>
                </a:solidFill>
              </a:rPr>
              <a:t>Link</a:t>
            </a:r>
            <a:r>
              <a:rPr lang="en-US" altLang="en-US" b="1" u="sng" kern="0" baseline="30000" dirty="0">
                <a:solidFill>
                  <a:srgbClr val="002060"/>
                </a:solidFill>
              </a:rPr>
              <a:t>®</a:t>
            </a:r>
            <a:r>
              <a:rPr lang="en-US" altLang="en-US" b="1" kern="0" dirty="0">
                <a:solidFill>
                  <a:srgbClr val="002060"/>
                </a:solidFill>
              </a:rPr>
              <a:t> </a:t>
            </a:r>
          </a:p>
          <a:p>
            <a:pPr marL="0" indent="0">
              <a:spcBef>
                <a:spcPts val="600"/>
              </a:spcBef>
              <a:spcAft>
                <a:spcPts val="600"/>
              </a:spcAft>
              <a:buClr>
                <a:srgbClr val="002060"/>
              </a:buClr>
              <a:buNone/>
            </a:pPr>
            <a:r>
              <a:rPr lang="en-US" altLang="en-US" sz="2000" b="1" kern="0" dirty="0">
                <a:solidFill>
                  <a:srgbClr val="002060"/>
                </a:solidFill>
              </a:rPr>
              <a:t>Pre-mailing, secure automated process </a:t>
            </a:r>
            <a:r>
              <a:rPr lang="en-US" altLang="en-US" sz="2000" kern="0" dirty="0">
                <a:solidFill>
                  <a:srgbClr val="002060"/>
                </a:solidFill>
              </a:rPr>
              <a:t>that allows mailers to submit a listing of names and addresses or a mail piece for matching to a Change-Of-Address record to find and update to the new address. </a:t>
            </a:r>
          </a:p>
        </p:txBody>
      </p:sp>
      <p:sp>
        <p:nvSpPr>
          <p:cNvPr id="15" name="Content Placeholder 2">
            <a:extLst>
              <a:ext uri="{FF2B5EF4-FFF2-40B4-BE49-F238E27FC236}">
                <a16:creationId xmlns:a16="http://schemas.microsoft.com/office/drawing/2014/main" id="{ADF377D3-C111-456C-819D-1CC78AE10A3F}"/>
              </a:ext>
            </a:extLst>
          </p:cNvPr>
          <p:cNvSpPr txBox="1">
            <a:spLocks/>
          </p:cNvSpPr>
          <p:nvPr/>
        </p:nvSpPr>
        <p:spPr>
          <a:xfrm>
            <a:off x="200372" y="3350582"/>
            <a:ext cx="5708405" cy="1885954"/>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ncillary Service Endorsements</a:t>
            </a:r>
            <a:r>
              <a:rPr lang="en-US" altLang="en-US" b="1" kern="0" dirty="0">
                <a:solidFill>
                  <a:srgbClr val="002060"/>
                </a:solidFill>
              </a:rPr>
              <a:t> </a:t>
            </a:r>
          </a:p>
          <a:p>
            <a:pPr marL="0" indent="0">
              <a:spcBef>
                <a:spcPts val="600"/>
              </a:spcBef>
              <a:spcAft>
                <a:spcPts val="600"/>
              </a:spcAft>
              <a:buClr>
                <a:srgbClr val="002060"/>
              </a:buClr>
              <a:buNone/>
            </a:pPr>
            <a:r>
              <a:rPr lang="en-US" altLang="en-US" sz="2000" b="1" kern="0" dirty="0">
                <a:solidFill>
                  <a:srgbClr val="002060"/>
                </a:solidFill>
              </a:rPr>
              <a:t>Post-mailing service </a:t>
            </a:r>
            <a:r>
              <a:rPr lang="en-US" altLang="en-US" sz="2000" kern="0" dirty="0">
                <a:solidFill>
                  <a:srgbClr val="002060"/>
                </a:solidFill>
              </a:rPr>
              <a:t>that provides manual address corrections or return of the mail depending on endorsement used (Address, Return, and Change Service Requested).</a:t>
            </a:r>
          </a:p>
        </p:txBody>
      </p:sp>
      <p:sp>
        <p:nvSpPr>
          <p:cNvPr id="16" name="Content Placeholder 2">
            <a:extLst>
              <a:ext uri="{FF2B5EF4-FFF2-40B4-BE49-F238E27FC236}">
                <a16:creationId xmlns:a16="http://schemas.microsoft.com/office/drawing/2014/main" id="{B38CEFC1-829F-4555-AD8F-A50993F66266}"/>
              </a:ext>
            </a:extLst>
          </p:cNvPr>
          <p:cNvSpPr txBox="1">
            <a:spLocks/>
          </p:cNvSpPr>
          <p:nvPr/>
        </p:nvSpPr>
        <p:spPr>
          <a:xfrm>
            <a:off x="6283226" y="974332"/>
            <a:ext cx="5758805" cy="2217946"/>
          </a:xfrm>
          <a:prstGeom prst="rect">
            <a:avLst/>
          </a:prstGeom>
        </p:spPr>
        <p:txBody>
          <a:bodyPr>
            <a:noAutofit/>
          </a:bodyPr>
          <a:lstStyle>
            <a:lvl1pPr marL="342900" indent="-3429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10000"/>
              </a:spcBef>
              <a:spcAft>
                <a:spcPct val="0"/>
              </a:spcAft>
              <a:buClr>
                <a:schemeClr val="tx1"/>
              </a:buClr>
              <a:buChar char="•"/>
              <a:defRPr sz="2400">
                <a:solidFill>
                  <a:schemeClr val="tx1"/>
                </a:solidFill>
                <a:latin typeface="+mn-lt"/>
                <a:ea typeface="+mn-ea"/>
              </a:defRPr>
            </a:lvl2pPr>
            <a:lvl3pPr marL="1085850" indent="-22860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3pPr>
            <a:lvl4pPr marL="1485900" indent="-228600" algn="l" rtl="0" eaLnBrk="1" fontAlgn="base" hangingPunct="1">
              <a:spcBef>
                <a:spcPct val="10000"/>
              </a:spcBef>
              <a:spcAft>
                <a:spcPct val="0"/>
              </a:spcAft>
              <a:buClr>
                <a:schemeClr val="tx1"/>
              </a:buClr>
              <a:buChar char="•"/>
              <a:defRPr sz="2400">
                <a:solidFill>
                  <a:schemeClr val="tx1"/>
                </a:solidFill>
                <a:latin typeface="+mn-lt"/>
                <a:ea typeface="+mn-ea"/>
              </a:defRPr>
            </a:lvl4pPr>
            <a:lvl5pPr marL="19431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5pPr>
            <a:lvl6pPr marL="24003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6pPr>
            <a:lvl7pPr marL="28575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7pPr>
            <a:lvl8pPr marL="33147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8pPr>
            <a:lvl9pPr marL="3771900" indent="-285750" algn="l" rtl="0" eaLnBrk="1" fontAlgn="base" hangingPunct="1">
              <a:spcBef>
                <a:spcPct val="10000"/>
              </a:spcBef>
              <a:spcAft>
                <a:spcPct val="0"/>
              </a:spcAft>
              <a:buClr>
                <a:schemeClr val="tx1"/>
              </a:buClr>
              <a:buFont typeface="Wingdings" pitchFamily="2" charset="2"/>
              <a:buChar char="§"/>
              <a:defRPr sz="2400">
                <a:solidFill>
                  <a:schemeClr val="tx1"/>
                </a:solidFill>
                <a:latin typeface="+mn-lt"/>
                <a:ea typeface="+mn-ea"/>
              </a:defRPr>
            </a:lvl9pPr>
          </a:lstStyle>
          <a:p>
            <a:pPr marL="0" indent="0" algn="ctr">
              <a:spcBef>
                <a:spcPts val="600"/>
              </a:spcBef>
              <a:spcAft>
                <a:spcPts val="600"/>
              </a:spcAft>
              <a:buClr>
                <a:srgbClr val="002060"/>
              </a:buClr>
              <a:buNone/>
            </a:pPr>
            <a:r>
              <a:rPr lang="en-US" altLang="en-US" b="1" u="sng" kern="0" dirty="0">
                <a:solidFill>
                  <a:srgbClr val="002060"/>
                </a:solidFill>
              </a:rPr>
              <a:t>ACS™</a:t>
            </a:r>
          </a:p>
          <a:p>
            <a:pPr marL="0" indent="0">
              <a:spcBef>
                <a:spcPts val="600"/>
              </a:spcBef>
              <a:spcAft>
                <a:spcPts val="600"/>
              </a:spcAft>
              <a:buClr>
                <a:srgbClr val="002060"/>
              </a:buClr>
              <a:buNone/>
            </a:pPr>
            <a:r>
              <a:rPr lang="en-US" altLang="en-US" sz="2000" b="1" kern="0" dirty="0">
                <a:solidFill>
                  <a:srgbClr val="002060"/>
                </a:solidFill>
              </a:rPr>
              <a:t>Post-mailing service </a:t>
            </a:r>
            <a:r>
              <a:rPr lang="en-US" altLang="en-US" sz="2000" kern="0" dirty="0">
                <a:solidFill>
                  <a:srgbClr val="002060"/>
                </a:solidFill>
              </a:rPr>
              <a:t>that acts on the mail piece to determine the correct disposition of undeliverable mail and generates an electronic address correction notice which includes Change-of-Address information. </a:t>
            </a:r>
          </a:p>
        </p:txBody>
      </p:sp>
      <p:cxnSp>
        <p:nvCxnSpPr>
          <p:cNvPr id="17" name="Straight Connector 16">
            <a:extLst>
              <a:ext uri="{FF2B5EF4-FFF2-40B4-BE49-F238E27FC236}">
                <a16:creationId xmlns:a16="http://schemas.microsoft.com/office/drawing/2014/main" id="{C19E1AAF-3860-4113-AF5D-00ACCAF8FD84}"/>
              </a:ext>
            </a:extLst>
          </p:cNvPr>
          <p:cNvCxnSpPr>
            <a:cxnSpLocks/>
          </p:cNvCxnSpPr>
          <p:nvPr/>
        </p:nvCxnSpPr>
        <p:spPr>
          <a:xfrm>
            <a:off x="6096000" y="1002890"/>
            <a:ext cx="0" cy="5004620"/>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AAC59BB-C8FD-40C5-95CC-91DD39933E1E}"/>
              </a:ext>
            </a:extLst>
          </p:cNvPr>
          <p:cNvCxnSpPr>
            <a:cxnSpLocks/>
          </p:cNvCxnSpPr>
          <p:nvPr/>
        </p:nvCxnSpPr>
        <p:spPr>
          <a:xfrm>
            <a:off x="200372" y="3259585"/>
            <a:ext cx="11652005" cy="0"/>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31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609601" y="1066799"/>
            <a:ext cx="4654984" cy="724423"/>
          </a:xfrm>
        </p:spPr>
        <p:txBody>
          <a:bodyPr>
            <a:normAutofit/>
          </a:bodyPr>
          <a:lstStyle/>
          <a:p>
            <a:pPr marL="0" lvl="1" fontAlgn="base">
              <a:lnSpc>
                <a:spcPct val="70000"/>
              </a:lnSpc>
              <a:spcBef>
                <a:spcPts val="1200"/>
              </a:spcBef>
              <a:spcAft>
                <a:spcPts val="600"/>
              </a:spcAft>
              <a:buClr>
                <a:srgbClr val="000000"/>
              </a:buClr>
              <a:buSzPct val="100000"/>
              <a:buNone/>
              <a:defRPr/>
            </a:pPr>
            <a:r>
              <a:rPr lang="en-US" sz="3200" b="1" u="sng" dirty="0">
                <a:solidFill>
                  <a:schemeClr val="accent1">
                    <a:lumMod val="50000"/>
                  </a:schemeClr>
                </a:solidFill>
                <a:latin typeface="Arial" panose="020B0604020202020204" pitchFamily="34" charset="0"/>
                <a:cs typeface="Arial" panose="020B0604020202020204" pitchFamily="34" charset="0"/>
              </a:rPr>
              <a:t>Mailpiece Design</a:t>
            </a:r>
          </a:p>
          <a:p>
            <a:pPr lvl="0" algn="ctr">
              <a:spcBef>
                <a:spcPct val="20000"/>
              </a:spcBef>
              <a:buClrTx/>
              <a:buNone/>
              <a:defRPr/>
            </a:pPr>
            <a:endParaRPr lang="en-US" sz="2000" dirty="0">
              <a:solidFill>
                <a:prstClr val="black"/>
              </a:solidFill>
              <a:cs typeface="Arial" panose="020B0604020202020204" pitchFamily="34" charset="0"/>
            </a:endParaRPr>
          </a:p>
        </p:txBody>
      </p:sp>
      <p:sp>
        <p:nvSpPr>
          <p:cNvPr id="5" name="Rectangle 2"/>
          <p:cNvSpPr txBox="1">
            <a:spLocks/>
          </p:cNvSpPr>
          <p:nvPr/>
        </p:nvSpPr>
        <p:spPr bwMode="auto">
          <a:xfrm>
            <a:off x="4321479" y="0"/>
            <a:ext cx="7260921" cy="62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charset="0"/>
              </a:defRPr>
            </a:lvl2pPr>
            <a:lvl3pPr algn="r" rtl="0" eaLnBrk="0" fontAlgn="base" hangingPunct="0">
              <a:spcBef>
                <a:spcPct val="0"/>
              </a:spcBef>
              <a:spcAft>
                <a:spcPct val="0"/>
              </a:spcAft>
              <a:defRPr sz="3200" b="1">
                <a:solidFill>
                  <a:schemeClr val="bg1"/>
                </a:solidFill>
                <a:latin typeface="Arial" charset="0"/>
              </a:defRPr>
            </a:lvl3pPr>
            <a:lvl4pPr algn="r" rtl="0" eaLnBrk="0" fontAlgn="base" hangingPunct="0">
              <a:spcBef>
                <a:spcPct val="0"/>
              </a:spcBef>
              <a:spcAft>
                <a:spcPct val="0"/>
              </a:spcAft>
              <a:defRPr sz="3200" b="1">
                <a:solidFill>
                  <a:schemeClr val="bg1"/>
                </a:solidFill>
                <a:latin typeface="Arial" charset="0"/>
              </a:defRPr>
            </a:lvl4pPr>
            <a:lvl5pPr algn="r" rtl="0" eaLnBrk="0" fontAlgn="base" hangingPunct="0">
              <a:spcBef>
                <a:spcPct val="0"/>
              </a:spcBef>
              <a:spcAft>
                <a:spcPct val="0"/>
              </a:spcAft>
              <a:defRPr sz="3200" b="1">
                <a:solidFill>
                  <a:schemeClr val="bg1"/>
                </a:solidFill>
                <a:latin typeface="Arial" charset="0"/>
              </a:defRPr>
            </a:lvl5pPr>
            <a:lvl6pPr marL="457200" algn="r" rtl="0" eaLnBrk="0" fontAlgn="base" hangingPunct="0">
              <a:spcBef>
                <a:spcPct val="0"/>
              </a:spcBef>
              <a:spcAft>
                <a:spcPct val="0"/>
              </a:spcAft>
              <a:defRPr sz="3200" b="1">
                <a:solidFill>
                  <a:schemeClr val="bg1"/>
                </a:solidFill>
                <a:latin typeface="Arial" charset="0"/>
              </a:defRPr>
            </a:lvl6pPr>
            <a:lvl7pPr marL="914400" algn="r" rtl="0" eaLnBrk="0" fontAlgn="base" hangingPunct="0">
              <a:spcBef>
                <a:spcPct val="0"/>
              </a:spcBef>
              <a:spcAft>
                <a:spcPct val="0"/>
              </a:spcAft>
              <a:defRPr sz="3200" b="1">
                <a:solidFill>
                  <a:schemeClr val="bg1"/>
                </a:solidFill>
                <a:latin typeface="Arial" charset="0"/>
              </a:defRPr>
            </a:lvl7pPr>
            <a:lvl8pPr marL="1371600" algn="r" rtl="0" eaLnBrk="0" fontAlgn="base" hangingPunct="0">
              <a:spcBef>
                <a:spcPct val="0"/>
              </a:spcBef>
              <a:spcAft>
                <a:spcPct val="0"/>
              </a:spcAft>
              <a:defRPr sz="3200" b="1">
                <a:solidFill>
                  <a:schemeClr val="bg1"/>
                </a:solidFill>
                <a:latin typeface="Arial" charset="0"/>
              </a:defRPr>
            </a:lvl8pPr>
            <a:lvl9pPr marL="1828800" algn="r" rtl="0" eaLnBrk="0" fontAlgn="base" hangingPunct="0">
              <a:spcBef>
                <a:spcPct val="0"/>
              </a:spcBef>
              <a:spcAft>
                <a:spcPct val="0"/>
              </a:spcAft>
              <a:defRPr sz="3200" b="1">
                <a:solidFill>
                  <a:schemeClr val="bg1"/>
                </a:solidFill>
                <a:latin typeface="Arial" charset="0"/>
              </a:defRPr>
            </a:lvl9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
        <p:nvSpPr>
          <p:cNvPr id="8" name="object 34">
            <a:extLst>
              <a:ext uri="{FF2B5EF4-FFF2-40B4-BE49-F238E27FC236}">
                <a16:creationId xmlns:a16="http://schemas.microsoft.com/office/drawing/2014/main" id="{03BE4FCF-A02C-4395-B721-BA1A25D19CDB}"/>
              </a:ext>
            </a:extLst>
          </p:cNvPr>
          <p:cNvSpPr/>
          <p:nvPr/>
        </p:nvSpPr>
        <p:spPr>
          <a:xfrm>
            <a:off x="7541780" y="1458348"/>
            <a:ext cx="2789928" cy="1553053"/>
          </a:xfrm>
          <a:prstGeom prst="rect">
            <a:avLst/>
          </a:prstGeom>
          <a:blipFill>
            <a:blip r:embed="rId3" cstate="print"/>
            <a:stretch>
              <a:fillRect/>
            </a:stretch>
          </a:blipFill>
          <a:effectLst>
            <a:outerShdw blurRad="50800" dist="38100" dir="2700000" algn="tl" rotWithShape="0">
              <a:prstClr val="black">
                <a:alpha val="40000"/>
              </a:prstClr>
            </a:outerShdw>
          </a:effectLst>
        </p:spPr>
        <p:txBody>
          <a:bodyPr wrap="square" lIns="0" tIns="0" rIns="0" bIns="0" rtlCol="0"/>
          <a:lstStyle/>
          <a:p>
            <a:endParaRPr/>
          </a:p>
        </p:txBody>
      </p:sp>
      <p:sp>
        <p:nvSpPr>
          <p:cNvPr id="2" name="TextBox 1">
            <a:extLst>
              <a:ext uri="{FF2B5EF4-FFF2-40B4-BE49-F238E27FC236}">
                <a16:creationId xmlns:a16="http://schemas.microsoft.com/office/drawing/2014/main" id="{3E777C41-9460-4259-A86F-8B66AB89691F}"/>
              </a:ext>
            </a:extLst>
          </p:cNvPr>
          <p:cNvSpPr txBox="1"/>
          <p:nvPr/>
        </p:nvSpPr>
        <p:spPr>
          <a:xfrm>
            <a:off x="5862239" y="903590"/>
            <a:ext cx="5745271" cy="400110"/>
          </a:xfrm>
          <a:prstGeom prst="rect">
            <a:avLst/>
          </a:prstGeom>
          <a:noFill/>
        </p:spPr>
        <p:txBody>
          <a:bodyPr wrap="square" rtlCol="0">
            <a:spAutoFit/>
          </a:bodyPr>
          <a:lstStyle/>
          <a:p>
            <a:pPr algn="ctr"/>
            <a:r>
              <a:rPr lang="en-US" sz="2000" b="1" dirty="0">
                <a:solidFill>
                  <a:schemeClr val="accent1">
                    <a:lumMod val="50000"/>
                  </a:schemeClr>
                </a:solidFill>
                <a:latin typeface="Arial" panose="020B0604020202020204" pitchFamily="34" charset="0"/>
                <a:cs typeface="Arial" panose="020B0604020202020204" pitchFamily="34" charset="0"/>
              </a:rPr>
              <a:t>Sample Outgoing Ballot</a:t>
            </a:r>
          </a:p>
        </p:txBody>
      </p:sp>
      <p:sp>
        <p:nvSpPr>
          <p:cNvPr id="10" name="object 13">
            <a:extLst>
              <a:ext uri="{FF2B5EF4-FFF2-40B4-BE49-F238E27FC236}">
                <a16:creationId xmlns:a16="http://schemas.microsoft.com/office/drawing/2014/main" id="{324598BA-ED2C-437C-9FA1-009104DE11D0}"/>
              </a:ext>
            </a:extLst>
          </p:cNvPr>
          <p:cNvSpPr/>
          <p:nvPr/>
        </p:nvSpPr>
        <p:spPr>
          <a:xfrm>
            <a:off x="7541780" y="3304204"/>
            <a:ext cx="2789928" cy="2095448"/>
          </a:xfrm>
          <a:prstGeom prst="rect">
            <a:avLst/>
          </a:prstGeom>
          <a:blipFill>
            <a:blip r:embed="rId4" cstate="print"/>
            <a:stretch>
              <a:fillRect/>
            </a:stretch>
          </a:blipFill>
          <a:effectLst>
            <a:outerShdw blurRad="50800" dist="38100" dir="2700000" algn="tl" rotWithShape="0">
              <a:prstClr val="black">
                <a:alpha val="40000"/>
              </a:prstClr>
            </a:outerShdw>
          </a:effectLst>
        </p:spPr>
        <p:txBody>
          <a:bodyPr wrap="square" lIns="0" tIns="0" rIns="0" bIns="0" rtlCol="0"/>
          <a:lstStyle/>
          <a:p>
            <a:endParaRPr/>
          </a:p>
        </p:txBody>
      </p:sp>
      <p:sp>
        <p:nvSpPr>
          <p:cNvPr id="11" name="TextBox 10">
            <a:extLst>
              <a:ext uri="{FF2B5EF4-FFF2-40B4-BE49-F238E27FC236}">
                <a16:creationId xmlns:a16="http://schemas.microsoft.com/office/drawing/2014/main" id="{D48D8C23-C170-4C7B-8D24-3A4CB694554E}"/>
              </a:ext>
            </a:extLst>
          </p:cNvPr>
          <p:cNvSpPr txBox="1"/>
          <p:nvPr/>
        </p:nvSpPr>
        <p:spPr>
          <a:xfrm>
            <a:off x="6446729" y="3011401"/>
            <a:ext cx="5745271" cy="400110"/>
          </a:xfrm>
          <a:prstGeom prst="rect">
            <a:avLst/>
          </a:prstGeom>
          <a:solidFill>
            <a:schemeClr val="bg1"/>
          </a:solidFill>
        </p:spPr>
        <p:txBody>
          <a:bodyPr wrap="square" rtlCol="0">
            <a:spAutoFit/>
          </a:bodyPr>
          <a:lstStyle/>
          <a:p>
            <a:r>
              <a:rPr lang="en-US" sz="2000" b="1" dirty="0">
                <a:solidFill>
                  <a:schemeClr val="accent1">
                    <a:lumMod val="50000"/>
                  </a:schemeClr>
                </a:solidFill>
                <a:latin typeface="Arial" panose="020B0604020202020204" pitchFamily="34" charset="0"/>
                <a:cs typeface="Arial" panose="020B0604020202020204" pitchFamily="34" charset="0"/>
              </a:rPr>
              <a:t>Sample BRM/QBRM Design Standard</a:t>
            </a:r>
          </a:p>
        </p:txBody>
      </p:sp>
      <p:sp>
        <p:nvSpPr>
          <p:cNvPr id="12" name="TextBox 11">
            <a:extLst>
              <a:ext uri="{FF2B5EF4-FFF2-40B4-BE49-F238E27FC236}">
                <a16:creationId xmlns:a16="http://schemas.microsoft.com/office/drawing/2014/main" id="{5C480A3A-AD50-4C0E-A971-DF61C5C97D43}"/>
              </a:ext>
            </a:extLst>
          </p:cNvPr>
          <p:cNvSpPr txBox="1"/>
          <p:nvPr/>
        </p:nvSpPr>
        <p:spPr>
          <a:xfrm>
            <a:off x="5862239" y="5121874"/>
            <a:ext cx="6668022" cy="1449628"/>
          </a:xfrm>
          <a:prstGeom prst="rect">
            <a:avLst/>
          </a:prstGeom>
          <a:noFill/>
        </p:spPr>
        <p:txBody>
          <a:bodyPr wrap="square" rtlCol="0">
            <a:spAutoFit/>
          </a:bodyPr>
          <a:lstStyle/>
          <a:p>
            <a:pPr marL="403225" lvl="1" indent="0">
              <a:lnSpc>
                <a:spcPct val="90000"/>
              </a:lnSpc>
              <a:buClr>
                <a:schemeClr val="tx1"/>
              </a:buClr>
              <a:buNone/>
              <a:defRPr/>
            </a:pPr>
            <a:endParaRPr lang="en-US" b="1" dirty="0">
              <a:cs typeface="Arial" panose="020B0604020202020204" pitchFamily="34" charset="0"/>
            </a:endParaRPr>
          </a:p>
          <a:p>
            <a:pPr lvl="0" algn="ctr">
              <a:spcBef>
                <a:spcPct val="20000"/>
              </a:spcBef>
              <a:buClrTx/>
              <a:buNone/>
              <a:defRPr/>
            </a:pPr>
            <a:r>
              <a:rPr lang="en-US" sz="2000" b="1" dirty="0">
                <a:solidFill>
                  <a:schemeClr val="accent1">
                    <a:lumMod val="50000"/>
                  </a:schemeClr>
                </a:solidFill>
                <a:latin typeface="Arial" panose="020B0604020202020204" pitchFamily="34" charset="0"/>
                <a:cs typeface="Arial" panose="020B0604020202020204" pitchFamily="34" charset="0"/>
              </a:rPr>
              <a:t>Mailing &amp; Shipping Solution Center (MSSC) </a:t>
            </a:r>
          </a:p>
          <a:p>
            <a:pPr lvl="0" algn="ctr">
              <a:spcBef>
                <a:spcPct val="20000"/>
              </a:spcBef>
              <a:buClrTx/>
              <a:buNone/>
              <a:defRPr/>
            </a:pPr>
            <a:r>
              <a:rPr kumimoji="0" lang="en-US" sz="2000" b="1"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MSSCadmin@usps.gov</a:t>
            </a:r>
            <a:endParaRPr lang="en-US" sz="2000" b="1" dirty="0">
              <a:solidFill>
                <a:schemeClr val="accent1">
                  <a:lumMod val="50000"/>
                </a:schemeClr>
              </a:solidFill>
              <a:latin typeface="Arial" panose="020B0604020202020204" pitchFamily="34" charset="0"/>
              <a:cs typeface="Arial" panose="020B0604020202020204" pitchFamily="34" charset="0"/>
            </a:endParaRPr>
          </a:p>
          <a:p>
            <a:pPr lvl="0" algn="ctr">
              <a:spcBef>
                <a:spcPct val="20000"/>
              </a:spcBef>
              <a:buClrTx/>
              <a:buNone/>
              <a:defRPr/>
            </a:pPr>
            <a:r>
              <a:rPr lang="en-US" sz="2000" b="1" dirty="0">
                <a:solidFill>
                  <a:schemeClr val="accent1">
                    <a:lumMod val="50000"/>
                  </a:schemeClr>
                </a:solidFill>
                <a:latin typeface="Arial" panose="020B0604020202020204" pitchFamily="34" charset="0"/>
                <a:cs typeface="Arial" panose="020B0604020202020204" pitchFamily="34" charset="0"/>
              </a:rPr>
              <a:t>or 1-877-672-0007</a:t>
            </a:r>
            <a:endParaRPr lang="en-US" dirty="0"/>
          </a:p>
        </p:txBody>
      </p:sp>
      <p:sp>
        <p:nvSpPr>
          <p:cNvPr id="13" name="TextBox 12">
            <a:extLst>
              <a:ext uri="{FF2B5EF4-FFF2-40B4-BE49-F238E27FC236}">
                <a16:creationId xmlns:a16="http://schemas.microsoft.com/office/drawing/2014/main" id="{92E039D9-3D27-4091-9803-61C1D25FEEFB}"/>
              </a:ext>
            </a:extLst>
          </p:cNvPr>
          <p:cNvSpPr txBox="1"/>
          <p:nvPr/>
        </p:nvSpPr>
        <p:spPr>
          <a:xfrm>
            <a:off x="609600" y="1551161"/>
            <a:ext cx="5837129" cy="5416868"/>
          </a:xfrm>
          <a:prstGeom prst="rect">
            <a:avLst/>
          </a:prstGeom>
          <a:noFill/>
        </p:spPr>
        <p:txBody>
          <a:bodyPr wrap="square" rtlCol="0">
            <a:spAutoFit/>
          </a:bodyPr>
          <a:lstStyle/>
          <a:p>
            <a:pPr marL="0" lvl="1">
              <a:buClr>
                <a:prstClr val="black"/>
              </a:buClr>
              <a:buSzPct val="100000"/>
              <a:defRPr/>
            </a:pPr>
            <a:r>
              <a:rPr lang="en-US" sz="2400" b="1" dirty="0">
                <a:solidFill>
                  <a:schemeClr val="accent1">
                    <a:lumMod val="50000"/>
                  </a:schemeClr>
                </a:solidFill>
                <a:latin typeface="Arial" panose="020B0604020202020204" pitchFamily="34" charset="0"/>
                <a:cs typeface="Arial" panose="020B0604020202020204" pitchFamily="34" charset="0"/>
              </a:rPr>
              <a:t>Design Considerations </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Letter-size Reply Envelope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Color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Weight limitations</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Proper wording</a:t>
            </a:r>
          </a:p>
          <a:p>
            <a:pPr marL="342900" lvl="2" indent="-342900">
              <a:buClr>
                <a:prstClr val="black"/>
              </a:buClr>
              <a:buSzPct val="100000"/>
              <a:buFont typeface="Arial" panose="020B0604020202020204" pitchFamily="34" charset="0"/>
              <a:buChar char="•"/>
              <a:defRPr/>
            </a:pPr>
            <a:r>
              <a:rPr lang="en-US" sz="20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Placement of postal markings</a:t>
            </a:r>
          </a:p>
          <a:p>
            <a:pPr marL="0" lvl="2">
              <a:buClr>
                <a:prstClr val="black"/>
              </a:buClr>
              <a:buSzPct val="100000"/>
              <a:defRPr/>
            </a:pP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0" lvl="1">
              <a:buClr>
                <a:srgbClr val="000000"/>
              </a:buClr>
              <a:defRPr/>
            </a:pPr>
            <a:r>
              <a:rPr lang="en-US" sz="2400" b="1" dirty="0">
                <a:solidFill>
                  <a:schemeClr val="accent1">
                    <a:lumMod val="50000"/>
                  </a:schemeClr>
                </a:solidFill>
                <a:latin typeface="Arial" panose="020B0604020202020204" pitchFamily="34" charset="0"/>
                <a:cs typeface="Arial" panose="020B0604020202020204" pitchFamily="34" charset="0"/>
              </a:rPr>
              <a:t>Mailpiece Design Analyst Review</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Consultation for mailing standards</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Guidance regarding automation rate qualification</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Technical assistance for printers, graphic designers, and envelope manufacturers</a:t>
            </a:r>
          </a:p>
          <a:p>
            <a:pPr marL="342900" lvl="2" indent="-342900">
              <a:buClr>
                <a:srgbClr val="000000"/>
              </a:buClr>
              <a:buFont typeface="Arial" panose="020B0604020202020204" pitchFamily="34" charset="0"/>
              <a:buChar char="•"/>
              <a:defRPr/>
            </a:pPr>
            <a:r>
              <a:rPr lang="en-US" sz="2000" dirty="0">
                <a:solidFill>
                  <a:schemeClr val="accent1">
                    <a:lumMod val="50000"/>
                  </a:schemeClr>
                </a:solidFill>
                <a:latin typeface="Arial" panose="020B0604020202020204" pitchFamily="34" charset="0"/>
                <a:cs typeface="Arial" panose="020B0604020202020204" pitchFamily="34" charset="0"/>
              </a:rPr>
              <a:t>We recommend that every Election Mail envelope design be reviewed by an MDA before it is used</a:t>
            </a:r>
          </a:p>
          <a:p>
            <a:endParaRPr lang="en-US" dirty="0"/>
          </a:p>
        </p:txBody>
      </p:sp>
    </p:spTree>
    <p:extLst>
      <p:ext uri="{BB962C8B-B14F-4D97-AF65-F5344CB8AC3E}">
        <p14:creationId xmlns:p14="http://schemas.microsoft.com/office/powerpoint/2010/main" val="490018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40044" y="1002901"/>
            <a:ext cx="10275556" cy="1568100"/>
          </a:xfrm>
        </p:spPr>
        <p:txBody>
          <a:bodyPr>
            <a:noAutofit/>
          </a:bodyPr>
          <a:lstStyle/>
          <a:p>
            <a:pPr marL="0" lvl="1" indent="-228531" defTabSz="914126" fontAlgn="base">
              <a:lnSpc>
                <a:spcPct val="70000"/>
              </a:lnSpc>
              <a:spcBef>
                <a:spcPts val="1200"/>
              </a:spcBef>
              <a:spcAft>
                <a:spcPts val="600"/>
              </a:spcAft>
              <a:buClr>
                <a:srgbClr val="000000"/>
              </a:buClr>
              <a:buSzPct val="100000"/>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Design: Ballot Mail Design Challenges:</a:t>
            </a:r>
          </a:p>
          <a:p>
            <a:pPr marL="0" lvl="1" indent="-228531" defTabSz="914126" fontAlgn="base">
              <a:lnSpc>
                <a:spcPct val="70000"/>
              </a:lnSpc>
              <a:spcBef>
                <a:spcPts val="1200"/>
              </a:spcBef>
              <a:spcAft>
                <a:spcPts val="600"/>
              </a:spcAft>
              <a:buClr>
                <a:srgbClr val="000000"/>
              </a:buClr>
              <a:buSzPct val="100000"/>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a:t>
            </a:r>
          </a:p>
          <a:p>
            <a:pPr lvl="1"/>
            <a:endPar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endParaRPr lang="en-US" altLang="en-US" sz="32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8</a:t>
            </a:fld>
            <a:endParaRPr lang="en-US" dirty="0"/>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pic>
        <p:nvPicPr>
          <p:cNvPr id="12" name="Content Placeholder 4">
            <a:extLst>
              <a:ext uri="{FF2B5EF4-FFF2-40B4-BE49-F238E27FC236}">
                <a16:creationId xmlns:a16="http://schemas.microsoft.com/office/drawing/2014/main" id="{6997BB13-63F6-CA9A-071F-33940D82802C}"/>
              </a:ext>
            </a:extLst>
          </p:cNvPr>
          <p:cNvPicPr>
            <a:picLocks noChangeAspect="1"/>
          </p:cNvPicPr>
          <p:nvPr/>
        </p:nvPicPr>
        <p:blipFill>
          <a:blip r:embed="rId3"/>
          <a:stretch>
            <a:fillRect/>
          </a:stretch>
        </p:blipFill>
        <p:spPr>
          <a:xfrm>
            <a:off x="1630520" y="1500345"/>
            <a:ext cx="8930388" cy="3857310"/>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4D2E18BD-CCB6-FA14-963E-1B0D8390725B}"/>
              </a:ext>
            </a:extLst>
          </p:cNvPr>
          <p:cNvSpPr txBox="1"/>
          <p:nvPr/>
        </p:nvSpPr>
        <p:spPr>
          <a:xfrm>
            <a:off x="625033" y="5257273"/>
            <a:ext cx="10967531" cy="1568100"/>
          </a:xfrm>
          <a:prstGeom prst="rect">
            <a:avLst/>
          </a:prstGeom>
          <a:solidFill>
            <a:schemeClr val="tx2"/>
          </a:solidFill>
        </p:spPr>
        <p:txBody>
          <a:bodyPr wrap="square" rtlCol="0">
            <a:noAutofit/>
          </a:bodyPr>
          <a:lstStyle/>
          <a:p>
            <a:pPr marL="0" lvl="1" indent="-228531" defTabSz="914126" fontAlgn="base">
              <a:spcBef>
                <a:spcPts val="1200"/>
              </a:spcBef>
              <a:spcAft>
                <a:spcPts val="600"/>
              </a:spcAft>
              <a:buClr>
                <a:srgbClr val="000000"/>
              </a:buClr>
              <a:buSzPct val="100000"/>
              <a:buNone/>
              <a:defRPr/>
            </a:pP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FIM, IMb, poor print quality, and placement of address block all have a significant impact on the ability of USPS automation equipment to scan the mailpiece accurately. </a:t>
            </a:r>
          </a:p>
          <a:p>
            <a:pPr marL="0" lvl="1" indent="-228531" defTabSz="914126" fontAlgn="base">
              <a:spcBef>
                <a:spcPts val="1200"/>
              </a:spcBef>
              <a:spcAft>
                <a:spcPts val="600"/>
              </a:spcAft>
              <a:buClr>
                <a:srgbClr val="000000"/>
              </a:buClr>
              <a:buSzPct val="100000"/>
              <a:buNone/>
              <a:defRPr/>
            </a:pP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When USPS automation equipment cannot read </a:t>
            </a:r>
            <a:r>
              <a:rPr lang="en-US" altLang="en-US" sz="2000" b="1" dirty="0" err="1">
                <a:solidFill>
                  <a:schemeClr val="bg1"/>
                </a:solidFill>
                <a:latin typeface="Arial" panose="020B0604020202020204" pitchFamily="34" charset="0"/>
                <a:ea typeface="ＭＳ Ｐゴシック" pitchFamily="34" charset="-128"/>
                <a:cs typeface="Arial" panose="020B0604020202020204" pitchFamily="34" charset="0"/>
              </a:rPr>
              <a:t>mailpieces</a:t>
            </a: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 they are sorted into manual operations, which causes delays. </a:t>
            </a:r>
            <a:endParaRPr lang="en-US" sz="2000" dirty="0">
              <a:solidFill>
                <a:schemeClr val="bg1"/>
              </a:solidFill>
            </a:endParaRPr>
          </a:p>
        </p:txBody>
      </p:sp>
      <p:sp>
        <p:nvSpPr>
          <p:cNvPr id="11" name="TextBox 10">
            <a:extLst>
              <a:ext uri="{FF2B5EF4-FFF2-40B4-BE49-F238E27FC236}">
                <a16:creationId xmlns:a16="http://schemas.microsoft.com/office/drawing/2014/main" id="{319EC8CB-B861-5D2E-E73F-E5AD87381521}"/>
              </a:ext>
            </a:extLst>
          </p:cNvPr>
          <p:cNvSpPr txBox="1"/>
          <p:nvPr/>
        </p:nvSpPr>
        <p:spPr>
          <a:xfrm>
            <a:off x="7792997" y="3899018"/>
            <a:ext cx="2339546" cy="338554"/>
          </a:xfrm>
          <a:prstGeom prst="rect">
            <a:avLst/>
          </a:prstGeom>
          <a:solidFill>
            <a:schemeClr val="bg1"/>
          </a:solidFill>
        </p:spPr>
        <p:txBody>
          <a:bodyPr wrap="square" rtlCol="0">
            <a:spAutoFit/>
          </a:bodyPr>
          <a:lstStyle/>
          <a:p>
            <a:pPr marL="285750" indent="-228600">
              <a:buFont typeface="Arial" panose="020B0604020202020204" pitchFamily="34" charset="0"/>
              <a:buChar char="•"/>
            </a:pPr>
            <a:r>
              <a:rPr lang="en-US" sz="1600" dirty="0">
                <a:solidFill>
                  <a:schemeClr val="accent5">
                    <a:lumMod val="50000"/>
                  </a:schemeClr>
                </a:solidFill>
              </a:rPr>
              <a:t>Poor Print Quality</a:t>
            </a:r>
          </a:p>
        </p:txBody>
      </p:sp>
      <p:sp>
        <p:nvSpPr>
          <p:cNvPr id="15" name="TextBox 14">
            <a:extLst>
              <a:ext uri="{FF2B5EF4-FFF2-40B4-BE49-F238E27FC236}">
                <a16:creationId xmlns:a16="http://schemas.microsoft.com/office/drawing/2014/main" id="{45921BE1-DAF4-BC7F-BB1D-A308DCC28C56}"/>
              </a:ext>
            </a:extLst>
          </p:cNvPr>
          <p:cNvSpPr txBox="1"/>
          <p:nvPr/>
        </p:nvSpPr>
        <p:spPr>
          <a:xfrm>
            <a:off x="4796616" y="4085673"/>
            <a:ext cx="1964725" cy="514868"/>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2166686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40044" y="1002901"/>
            <a:ext cx="10275556" cy="1568100"/>
          </a:xfrm>
        </p:spPr>
        <p:txBody>
          <a:bodyPr>
            <a:noAutofit/>
          </a:bodyPr>
          <a:lstStyle/>
          <a:p>
            <a:pPr marL="0" lvl="1" indent="-228531" defTabSz="914126" fontAlgn="base">
              <a:lnSpc>
                <a:spcPct val="70000"/>
              </a:lnSpc>
              <a:spcBef>
                <a:spcPts val="1200"/>
              </a:spcBef>
              <a:spcAft>
                <a:spcPts val="600"/>
              </a:spcAft>
              <a:buClr>
                <a:srgbClr val="000000"/>
              </a:buClr>
              <a:buSzPct val="100000"/>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Design: Ballot Mail Design Challenges:</a:t>
            </a:r>
          </a:p>
          <a:p>
            <a:pPr marL="0" lvl="1" indent="-228531" defTabSz="914126" fontAlgn="base">
              <a:lnSpc>
                <a:spcPct val="70000"/>
              </a:lnSpc>
              <a:spcBef>
                <a:spcPts val="1200"/>
              </a:spcBef>
              <a:spcAft>
                <a:spcPts val="600"/>
              </a:spcAft>
              <a:buClr>
                <a:srgbClr val="000000"/>
              </a:buClr>
              <a:buSzPct val="100000"/>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a:t>
            </a:r>
          </a:p>
          <a:p>
            <a:pPr lvl="1"/>
            <a:endPar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endParaRPr lang="en-US" altLang="en-US" sz="32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19</a:t>
            </a:fld>
            <a:endParaRPr lang="en-US" dirty="0"/>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
        <p:nvSpPr>
          <p:cNvPr id="11" name="TextBox 10">
            <a:extLst>
              <a:ext uri="{FF2B5EF4-FFF2-40B4-BE49-F238E27FC236}">
                <a16:creationId xmlns:a16="http://schemas.microsoft.com/office/drawing/2014/main" id="{8563A7B7-2218-C0DF-AA4E-B18FC24E11F3}"/>
              </a:ext>
            </a:extLst>
          </p:cNvPr>
          <p:cNvSpPr txBox="1"/>
          <p:nvPr/>
        </p:nvSpPr>
        <p:spPr>
          <a:xfrm>
            <a:off x="5624614" y="4234574"/>
            <a:ext cx="6023031" cy="935304"/>
          </a:xfrm>
          <a:prstGeom prst="rect">
            <a:avLst/>
          </a:prstGeom>
          <a:solidFill>
            <a:schemeClr val="tx2"/>
          </a:solidFill>
        </p:spPr>
        <p:txBody>
          <a:bodyPr wrap="square" rtlCol="0">
            <a:noAutofit/>
          </a:bodyPr>
          <a:lstStyle/>
          <a:p>
            <a:pPr marL="0" lvl="1" algn="ctr" defTabSz="914126" fontAlgn="base">
              <a:spcBef>
                <a:spcPts val="1200"/>
              </a:spcBef>
              <a:spcAft>
                <a:spcPts val="600"/>
              </a:spcAft>
              <a:buClr>
                <a:srgbClr val="000000"/>
              </a:buClr>
              <a:buSzPct val="100000"/>
              <a:defRPr/>
            </a:pPr>
            <a:r>
              <a:rPr lang="en-US" altLang="en-US" b="1" dirty="0">
                <a:solidFill>
                  <a:schemeClr val="bg1"/>
                </a:solidFill>
                <a:latin typeface="Arial" panose="020B0604020202020204" pitchFamily="34" charset="0"/>
                <a:ea typeface="ＭＳ Ｐゴシック" pitchFamily="34" charset="-128"/>
                <a:cs typeface="Arial" panose="020B0604020202020204" pitchFamily="34" charset="0"/>
              </a:rPr>
              <a:t>Ballot Mail thumb notch catches on automation equipment and causes damage to the </a:t>
            </a:r>
            <a:r>
              <a:rPr lang="en-US" altLang="en-US" b="1" dirty="0" err="1">
                <a:solidFill>
                  <a:schemeClr val="bg1"/>
                </a:solidFill>
                <a:latin typeface="Arial" panose="020B0604020202020204" pitchFamily="34" charset="0"/>
                <a:ea typeface="ＭＳ Ｐゴシック" pitchFamily="34" charset="-128"/>
                <a:cs typeface="Arial" panose="020B0604020202020204" pitchFamily="34" charset="0"/>
              </a:rPr>
              <a:t>mailpiece</a:t>
            </a:r>
            <a:r>
              <a:rPr lang="en-US" altLang="en-US" b="1" dirty="0">
                <a:solidFill>
                  <a:schemeClr val="bg1"/>
                </a:solidFill>
                <a:latin typeface="Arial" panose="020B0604020202020204" pitchFamily="34" charset="0"/>
                <a:ea typeface="ＭＳ Ｐゴシック" pitchFamily="34" charset="-128"/>
                <a:cs typeface="Arial" panose="020B0604020202020204" pitchFamily="34" charset="0"/>
              </a:rPr>
              <a:t>. </a:t>
            </a:r>
          </a:p>
          <a:p>
            <a:pPr algn="ctr"/>
            <a:endParaRPr lang="en-US" dirty="0">
              <a:solidFill>
                <a:schemeClr val="bg1"/>
              </a:solidFill>
            </a:endParaRPr>
          </a:p>
        </p:txBody>
      </p:sp>
      <p:pic>
        <p:nvPicPr>
          <p:cNvPr id="10" name="Content Placeholder 4">
            <a:extLst>
              <a:ext uri="{FF2B5EF4-FFF2-40B4-BE49-F238E27FC236}">
                <a16:creationId xmlns:a16="http://schemas.microsoft.com/office/drawing/2014/main" id="{1A9B3346-C604-6580-4952-13B8C984AA8C}"/>
              </a:ext>
            </a:extLst>
          </p:cNvPr>
          <p:cNvPicPr>
            <a:picLocks noChangeAspect="1"/>
          </p:cNvPicPr>
          <p:nvPr/>
        </p:nvPicPr>
        <p:blipFill>
          <a:blip r:embed="rId3"/>
          <a:stretch>
            <a:fillRect/>
          </a:stretch>
        </p:blipFill>
        <p:spPr>
          <a:xfrm>
            <a:off x="5624614" y="1527906"/>
            <a:ext cx="6023031" cy="2486929"/>
          </a:xfrm>
          <a:prstGeom prst="rect">
            <a:avLst/>
          </a:prstGeom>
          <a:effectLst>
            <a:outerShdw blurRad="50800" dist="38100" dir="2700000" algn="tl" rotWithShape="0">
              <a:prstClr val="black">
                <a:alpha val="40000"/>
              </a:prstClr>
            </a:outerShdw>
          </a:effectLst>
        </p:spPr>
      </p:pic>
      <p:pic>
        <p:nvPicPr>
          <p:cNvPr id="12" name="39E59CD2-8D34-436B-A8A7-2E941202C379" descr="IMG_6914.jpg">
            <a:extLst>
              <a:ext uri="{FF2B5EF4-FFF2-40B4-BE49-F238E27FC236}">
                <a16:creationId xmlns:a16="http://schemas.microsoft.com/office/drawing/2014/main" id="{814A2437-CE05-7B60-6C61-DE7F43046EC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190" y="1721756"/>
            <a:ext cx="1587210" cy="229307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05815C6F-ACF2-475F-90D8-E85D7D623B56" descr="IMG_6915.jpg">
            <a:extLst>
              <a:ext uri="{FF2B5EF4-FFF2-40B4-BE49-F238E27FC236}">
                <a16:creationId xmlns:a16="http://schemas.microsoft.com/office/drawing/2014/main" id="{6B9BC54F-FD9C-F4D7-3084-C7C3783E4DC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27254" y="1717884"/>
            <a:ext cx="1596591" cy="229695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741D5E4A-942D-4977-AB10-91BD1EBC9C24" descr="IMG_6949.jpg">
            <a:extLst>
              <a:ext uri="{FF2B5EF4-FFF2-40B4-BE49-F238E27FC236}">
                <a16:creationId xmlns:a16="http://schemas.microsoft.com/office/drawing/2014/main" id="{2E223C98-A572-A51A-F541-604562201D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4699" y="1717883"/>
            <a:ext cx="1656321" cy="229695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7698E125-2D5C-19C1-FBFF-A9078994F165}"/>
              </a:ext>
            </a:extLst>
          </p:cNvPr>
          <p:cNvSpPr txBox="1"/>
          <p:nvPr/>
        </p:nvSpPr>
        <p:spPr>
          <a:xfrm>
            <a:off x="89190" y="4234573"/>
            <a:ext cx="5231020" cy="935305"/>
          </a:xfrm>
          <a:prstGeom prst="rect">
            <a:avLst/>
          </a:prstGeom>
          <a:solidFill>
            <a:schemeClr val="tx2"/>
          </a:solidFill>
        </p:spPr>
        <p:txBody>
          <a:bodyPr wrap="square" rtlCol="0">
            <a:noAutofit/>
          </a:bodyPr>
          <a:lstStyle/>
          <a:p>
            <a:pPr marL="0" lvl="1" algn="ctr" defTabSz="914126" fontAlgn="base">
              <a:spcBef>
                <a:spcPts val="1200"/>
              </a:spcBef>
              <a:spcAft>
                <a:spcPts val="600"/>
              </a:spcAft>
              <a:buClr>
                <a:srgbClr val="000000"/>
              </a:buClr>
              <a:buSzPct val="100000"/>
              <a:defRPr/>
            </a:pPr>
            <a:r>
              <a:rPr lang="en-US" altLang="en-US" b="1" dirty="0">
                <a:solidFill>
                  <a:schemeClr val="bg1"/>
                </a:solidFill>
                <a:latin typeface="Arial" panose="020B0604020202020204" pitchFamily="34" charset="0"/>
                <a:ea typeface="ＭＳ Ｐゴシック" pitchFamily="34" charset="-128"/>
                <a:cs typeface="Arial" panose="020B0604020202020204" pitchFamily="34" charset="0"/>
              </a:rPr>
              <a:t>Ballot Mail is not tabbed on both ends. This design causes damage to the </a:t>
            </a:r>
            <a:r>
              <a:rPr lang="en-US" altLang="en-US" b="1" dirty="0" err="1">
                <a:solidFill>
                  <a:schemeClr val="bg1"/>
                </a:solidFill>
                <a:latin typeface="Arial" panose="020B0604020202020204" pitchFamily="34" charset="0"/>
                <a:ea typeface="ＭＳ Ｐゴシック" pitchFamily="34" charset="-128"/>
                <a:cs typeface="Arial" panose="020B0604020202020204" pitchFamily="34" charset="0"/>
              </a:rPr>
              <a:t>mailpiece</a:t>
            </a:r>
            <a:r>
              <a:rPr lang="en-US" altLang="en-US" b="1" dirty="0">
                <a:solidFill>
                  <a:schemeClr val="bg1"/>
                </a:solidFill>
                <a:latin typeface="Arial" panose="020B0604020202020204" pitchFamily="34" charset="0"/>
                <a:ea typeface="ＭＳ Ｐゴシック" pitchFamily="34" charset="-128"/>
                <a:cs typeface="Arial" panose="020B0604020202020204" pitchFamily="34" charset="0"/>
              </a:rPr>
              <a:t>. </a:t>
            </a:r>
          </a:p>
          <a:p>
            <a:pPr algn="ctr"/>
            <a:endParaRPr lang="en-US" dirty="0">
              <a:solidFill>
                <a:schemeClr val="bg1"/>
              </a:solidFill>
            </a:endParaRPr>
          </a:p>
        </p:txBody>
      </p:sp>
      <p:sp>
        <p:nvSpPr>
          <p:cNvPr id="16" name="TextBox 15">
            <a:extLst>
              <a:ext uri="{FF2B5EF4-FFF2-40B4-BE49-F238E27FC236}">
                <a16:creationId xmlns:a16="http://schemas.microsoft.com/office/drawing/2014/main" id="{6E196D30-537F-0238-8337-1AC2BBFFBF42}"/>
              </a:ext>
            </a:extLst>
          </p:cNvPr>
          <p:cNvSpPr txBox="1"/>
          <p:nvPr/>
        </p:nvSpPr>
        <p:spPr>
          <a:xfrm>
            <a:off x="89190" y="5330094"/>
            <a:ext cx="11558455" cy="1410675"/>
          </a:xfrm>
          <a:prstGeom prst="rect">
            <a:avLst/>
          </a:prstGeom>
          <a:solidFill>
            <a:schemeClr val="tx2"/>
          </a:solidFill>
        </p:spPr>
        <p:txBody>
          <a:bodyPr wrap="square" rtlCol="0">
            <a:noAutofit/>
          </a:bodyPr>
          <a:lstStyle/>
          <a:p>
            <a:pPr marL="0" lvl="1" algn="ctr" defTabSz="914126" fontAlgn="base">
              <a:spcBef>
                <a:spcPts val="1200"/>
              </a:spcBef>
              <a:spcAft>
                <a:spcPts val="600"/>
              </a:spcAft>
              <a:buClr>
                <a:srgbClr val="000000"/>
              </a:buClr>
              <a:buSzPct val="100000"/>
              <a:defRPr/>
            </a:pP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Damaged </a:t>
            </a:r>
            <a:r>
              <a:rPr lang="en-US" altLang="en-US" sz="2000" b="1" dirty="0" err="1">
                <a:solidFill>
                  <a:schemeClr val="bg1"/>
                </a:solidFill>
                <a:latin typeface="Arial" panose="020B0604020202020204" pitchFamily="34" charset="0"/>
                <a:ea typeface="ＭＳ Ｐゴシック" pitchFamily="34" charset="-128"/>
                <a:cs typeface="Arial" panose="020B0604020202020204" pitchFamily="34" charset="0"/>
              </a:rPr>
              <a:t>mailpieces</a:t>
            </a: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 in processing require manual processing, which is the leading cause of delayed mail. Damaged </a:t>
            </a:r>
            <a:r>
              <a:rPr lang="en-US" altLang="en-US" sz="2000" b="1" dirty="0" err="1">
                <a:solidFill>
                  <a:schemeClr val="bg1"/>
                </a:solidFill>
                <a:latin typeface="Arial" panose="020B0604020202020204" pitchFamily="34" charset="0"/>
                <a:ea typeface="ＭＳ Ｐゴシック" pitchFamily="34" charset="-128"/>
                <a:cs typeface="Arial" panose="020B0604020202020204" pitchFamily="34" charset="0"/>
              </a:rPr>
              <a:t>mailpieces</a:t>
            </a:r>
            <a:r>
              <a:rPr lang="en-US" altLang="en-US" sz="2000" b="1" dirty="0">
                <a:solidFill>
                  <a:schemeClr val="bg1"/>
                </a:solidFill>
                <a:latin typeface="Arial" panose="020B0604020202020204" pitchFamily="34" charset="0"/>
                <a:ea typeface="ＭＳ Ｐゴシック" pitchFamily="34" charset="-128"/>
                <a:cs typeface="Arial" panose="020B0604020202020204" pitchFamily="34" charset="0"/>
              </a:rPr>
              <a:t> can also result in no cancellation (postmark) or complete destruction, which may require that ballot to be reissued.  </a:t>
            </a:r>
          </a:p>
          <a:p>
            <a:endParaRPr lang="en-US" dirty="0">
              <a:solidFill>
                <a:schemeClr val="bg1"/>
              </a:solidFill>
            </a:endParaRPr>
          </a:p>
        </p:txBody>
      </p:sp>
    </p:spTree>
    <p:extLst>
      <p:ext uri="{BB962C8B-B14F-4D97-AF65-F5344CB8AC3E}">
        <p14:creationId xmlns:p14="http://schemas.microsoft.com/office/powerpoint/2010/main" val="877119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21292" y="822036"/>
            <a:ext cx="11325665" cy="6022712"/>
          </a:xfrm>
        </p:spPr>
        <p:txBody>
          <a:bodyPr>
            <a:noAutofit/>
          </a:bodyPr>
          <a:lstStyle/>
          <a:p>
            <a:pPr marL="0" lvl="1">
              <a:spcBef>
                <a:spcPts val="1200"/>
              </a:spcBef>
              <a:spcAft>
                <a:spcPts val="600"/>
              </a:spcAft>
              <a:buClr>
                <a:srgbClr val="000000"/>
              </a:buClr>
              <a:buNone/>
              <a:defRPr/>
            </a:pPr>
            <a:r>
              <a:rPr lang="en-US" sz="3200" b="1" u="sng" dirty="0">
                <a:solidFill>
                  <a:schemeClr val="accent1">
                    <a:lumMod val="50000"/>
                  </a:schemeClr>
                </a:solidFill>
                <a:latin typeface="Arial" panose="020B0604020202020204" pitchFamily="34" charset="0"/>
                <a:cs typeface="Arial" panose="020B0604020202020204" pitchFamily="34" charset="0"/>
              </a:rPr>
              <a:t>Agenda</a:t>
            </a:r>
          </a:p>
          <a:p>
            <a:pPr marL="228600" marR="0" lvl="1">
              <a:spcBef>
                <a:spcPts val="1000"/>
              </a:spcBef>
              <a:spcAft>
                <a:spcPts val="0"/>
              </a:spcAft>
            </a:pPr>
            <a:r>
              <a:rPr lang="en-US" sz="20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2022 Election Cycle Recap/Highlights</a:t>
            </a:r>
          </a:p>
          <a:p>
            <a:pPr marL="228600" marR="0" lvl="2">
              <a:spcBef>
                <a:spcPts val="1000"/>
              </a:spcBef>
              <a:spcAft>
                <a:spcPts val="0"/>
              </a:spcAft>
            </a:pPr>
            <a:r>
              <a:rPr lang="en-US"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lection and Government Mail Services Team</a:t>
            </a:r>
          </a:p>
          <a:p>
            <a:pPr marL="228600" marR="0" lvl="2">
              <a:spcBef>
                <a:spcPts val="1000"/>
              </a:spcBef>
              <a:spcAft>
                <a:spcPts val="0"/>
              </a:spcAft>
            </a:pPr>
            <a:r>
              <a:rPr lang="en-US"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lection Mail Security </a:t>
            </a:r>
          </a:p>
          <a:p>
            <a:pPr>
              <a:defRPr/>
            </a:pPr>
            <a:r>
              <a:rPr lang="en-US" sz="20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USPS Outreach and Communications</a:t>
            </a:r>
          </a:p>
          <a:p>
            <a:pPr lvl="0">
              <a:defRPr/>
            </a:pPr>
            <a:r>
              <a:rPr lang="en-US" sz="20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olicies and Mailing Recommendations </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ostmarking</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 Visibility</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Ballot Mail Service Type Identifiers (STIDs) </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Addressing</a:t>
            </a:r>
          </a:p>
          <a:p>
            <a:pPr lvl="1"/>
            <a:r>
              <a:rPr lang="en-US" altLang="en-US" sz="1800" dirty="0" err="1">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a:t>
            </a:r>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Design</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inting &amp; Mailing Schedule</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epaid Reply Mail Options</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Informed Delivery</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Informed Visibility Mail Tracking and Reporting</a:t>
            </a:r>
          </a:p>
          <a:p>
            <a:pPr lvl="1"/>
            <a:r>
              <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Resources</a:t>
            </a:r>
          </a:p>
          <a:p>
            <a:pPr lvl="1"/>
            <a:endParaRPr lang="en-US" altLang="en-US" sz="1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lvl="1"/>
            <a:endParaRPr lang="en-US" altLang="en-US" sz="20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0" indent="0">
              <a:buNone/>
            </a:pPr>
            <a:endParaRPr lang="en-US" sz="20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3106709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333828" y="928914"/>
            <a:ext cx="11408229" cy="5746523"/>
          </a:xfrm>
        </p:spPr>
        <p:txBody>
          <a:bodyPr>
            <a:normAutofit fontScale="92500" lnSpcReduction="10000"/>
          </a:bodyPr>
          <a:lstStyle/>
          <a:p>
            <a:pPr marL="0" lvl="1" indent="-228531" defTabSz="914126" fontAlgn="base">
              <a:lnSpc>
                <a:spcPct val="70000"/>
              </a:lnSpc>
              <a:spcBef>
                <a:spcPts val="1200"/>
              </a:spcBef>
              <a:spcAft>
                <a:spcPts val="600"/>
              </a:spcAft>
              <a:buClr>
                <a:srgbClr val="000000"/>
              </a:buClr>
              <a:buSzPct val="100000"/>
              <a:buNone/>
              <a:defRPr/>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inting &amp; Mailing Schedule: </a:t>
            </a: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a:t>
            </a:r>
            <a:r>
              <a:rPr lang="en-US" sz="2800" dirty="0">
                <a:solidFill>
                  <a:schemeClr val="accent1">
                    <a:lumMod val="50000"/>
                  </a:schemeClr>
                </a:solidFill>
                <a:effectLst/>
                <a:latin typeface="Arial" panose="020B0604020202020204" pitchFamily="34" charset="0"/>
                <a:ea typeface="Calibri" panose="020F0502020204030204" pitchFamily="34" charset="0"/>
                <a:cs typeface="Arial" panose="020B0604020202020204" pitchFamily="34" charset="0"/>
              </a:rPr>
              <a:t>he Postal Service continues to recommend the use of First-Class Mail for time sensitive election mail, particularly outbound ballots.</a:t>
            </a:r>
            <a:r>
              <a:rPr lang="en-US" sz="2800" dirty="0">
                <a:solidFill>
                  <a:schemeClr val="accent1">
                    <a:lumMod val="50000"/>
                  </a:schemeClr>
                </a:solidFill>
                <a:effectLst/>
                <a:latin typeface="Arial" panose="020B0604020202020204" pitchFamily="34" charset="0"/>
                <a:cs typeface="Arial" panose="020B0604020202020204" pitchFamily="34" charset="0"/>
              </a:rPr>
              <a:t> </a:t>
            </a:r>
          </a:p>
          <a:p>
            <a:pPr marL="457200" lvl="1" indent="0">
              <a:buNone/>
            </a:pPr>
            <a:endParaRPr lang="en-US" sz="2800" dirty="0">
              <a:solidFill>
                <a:schemeClr val="accent1">
                  <a:lumMod val="50000"/>
                </a:schemeClr>
              </a:solidFill>
              <a:latin typeface="Arial" panose="020B0604020202020204" pitchFamily="34" charset="0"/>
              <a:cs typeface="Arial" panose="020B0604020202020204" pitchFamily="34" charset="0"/>
            </a:endParaRPr>
          </a:p>
          <a:p>
            <a:pPr marL="457200" lvl="1" indent="0">
              <a:buNone/>
            </a:pPr>
            <a:r>
              <a:rPr lang="en-US" sz="2800" dirty="0">
                <a:solidFill>
                  <a:schemeClr val="accent1">
                    <a:lumMod val="50000"/>
                  </a:schemeClr>
                </a:solidFill>
                <a:latin typeface="Arial" panose="020B0604020202020204" pitchFamily="34" charset="0"/>
                <a:cs typeface="Arial" panose="020B0604020202020204" pitchFamily="34" charset="0"/>
              </a:rPr>
              <a:t>The process for designing, printing, and mailing Election Mail materials takes time. Be sure to consult with a Mailpiece Design Analyst early in the process to ensure your Election Mail is designed properly and includes all of the recommended visibility tools. </a:t>
            </a:r>
          </a:p>
          <a:p>
            <a:pPr marL="457200" lvl="1" indent="0">
              <a:buNone/>
            </a:pPr>
            <a:endParaRPr lang="en-US" sz="2800" dirty="0">
              <a:solidFill>
                <a:schemeClr val="accent1">
                  <a:lumMod val="50000"/>
                </a:schemeClr>
              </a:solidFill>
              <a:latin typeface="Arial" panose="020B0604020202020204" pitchFamily="34" charset="0"/>
              <a:cs typeface="Arial" panose="020B0604020202020204" pitchFamily="34" charset="0"/>
            </a:endParaRPr>
          </a:p>
          <a:p>
            <a:pPr marL="457200" lvl="1" indent="0">
              <a:buNone/>
            </a:pPr>
            <a:r>
              <a:rPr lang="en-US" sz="2800" dirty="0">
                <a:solidFill>
                  <a:schemeClr val="accent1">
                    <a:lumMod val="50000"/>
                  </a:schemeClr>
                </a:solidFill>
                <a:latin typeface="Arial" panose="020B0604020202020204" pitchFamily="34" charset="0"/>
                <a:cs typeface="Arial" panose="020B0604020202020204" pitchFamily="34" charset="0"/>
              </a:rPr>
              <a:t>Managers of Customer Relations, Mailpiece Design Analysts, and other Postal Service experts are available to assist you with your Election Mail program. Sharing information regarding your </a:t>
            </a:r>
            <a:r>
              <a:rPr lang="en-US" sz="2800" dirty="0" err="1">
                <a:solidFill>
                  <a:schemeClr val="accent1">
                    <a:lumMod val="50000"/>
                  </a:schemeClr>
                </a:solidFill>
                <a:latin typeface="Arial" panose="020B0604020202020204" pitchFamily="34" charset="0"/>
                <a:cs typeface="Arial" panose="020B0604020202020204" pitchFamily="34" charset="0"/>
              </a:rPr>
              <a:t>mailpiece</a:t>
            </a:r>
            <a:r>
              <a:rPr lang="en-US" sz="2800" dirty="0">
                <a:solidFill>
                  <a:schemeClr val="accent1">
                    <a:lumMod val="50000"/>
                  </a:schemeClr>
                </a:solidFill>
                <a:latin typeface="Arial" panose="020B0604020202020204" pitchFamily="34" charset="0"/>
                <a:cs typeface="Arial" panose="020B0604020202020204" pitchFamily="34" charset="0"/>
              </a:rPr>
              <a:t> design, estimated volume, mailing date, mail entry location, and other information about your mailing plans supports the timely processing and delivery of Election Mail.</a:t>
            </a: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0</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354432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32356" y="1045029"/>
            <a:ext cx="11127288" cy="5447846"/>
          </a:xfrm>
        </p:spPr>
        <p:txBody>
          <a:bodyPr>
            <a:normAutofit/>
          </a:bodyPr>
          <a:lstStyle/>
          <a:p>
            <a:pPr marL="0" lvl="1" indent="-228531" defTabSz="914126" fontAlgn="base">
              <a:lnSpc>
                <a:spcPct val="100000"/>
              </a:lnSpc>
              <a:spcBef>
                <a:spcPts val="1200"/>
              </a:spcBef>
              <a:spcAft>
                <a:spcPts val="600"/>
              </a:spcAft>
              <a:buClr>
                <a:srgbClr val="000000"/>
              </a:buClr>
              <a:buSzPct val="100000"/>
              <a:buNone/>
              <a:defRPr/>
            </a:pPr>
            <a:r>
              <a:rPr lang="en-US" sz="2800" b="1" dirty="0">
                <a:solidFill>
                  <a:schemeClr val="accent1">
                    <a:lumMod val="50000"/>
                  </a:schemeClr>
                </a:solidFill>
                <a:latin typeface="Arial" panose="020B0604020202020204" pitchFamily="34" charset="0"/>
                <a:cs typeface="Arial" panose="020B0604020202020204" pitchFamily="34" charset="0"/>
              </a:rPr>
              <a:t>Prepay Reply Mail Options:</a:t>
            </a:r>
          </a:p>
          <a:p>
            <a:pPr marL="0" indent="-685731" defTabSz="914126" fontAlgn="base">
              <a:lnSpc>
                <a:spcPct val="100000"/>
              </a:lnSpc>
              <a:spcBef>
                <a:spcPts val="1200"/>
              </a:spcBef>
              <a:spcAft>
                <a:spcPts val="600"/>
              </a:spcAft>
              <a:buClr>
                <a:srgbClr val="000000"/>
              </a:buClr>
              <a:buSzPct val="100000"/>
              <a:buNone/>
              <a:defRPr/>
            </a:pPr>
            <a:r>
              <a:rPr lang="en-US" sz="2400" dirty="0">
                <a:solidFill>
                  <a:schemeClr val="accent1">
                    <a:lumMod val="50000"/>
                  </a:schemeClr>
                </a:solidFill>
                <a:latin typeface="Arial" panose="020B0604020202020204" pitchFamily="34" charset="0"/>
                <a:cs typeface="Arial" panose="020B0604020202020204" pitchFamily="34" charset="0"/>
              </a:rPr>
              <a:t>The Postal Service offers a variety of ways for elections officials to prepay for mail returned to them, such as voter registration forms, ballots, or other materials. Depending on your expected volume of reply mail, tracking requirements, and other factors, the Postal Service has a solution that will meet your needs.</a:t>
            </a:r>
          </a:p>
          <a:p>
            <a:pPr marL="0" indent="-685731" defTabSz="914126" fontAlgn="base">
              <a:lnSpc>
                <a:spcPct val="100000"/>
              </a:lnSpc>
              <a:spcBef>
                <a:spcPts val="1200"/>
              </a:spcBef>
              <a:spcAft>
                <a:spcPts val="600"/>
              </a:spcAft>
              <a:buClr>
                <a:srgbClr val="000000"/>
              </a:buClr>
              <a:buSzPct val="100000"/>
              <a:buNone/>
              <a:defRPr/>
            </a:pPr>
            <a:r>
              <a:rPr lang="en-US" sz="2400" dirty="0">
                <a:solidFill>
                  <a:schemeClr val="accent1">
                    <a:lumMod val="50000"/>
                  </a:schemeClr>
                </a:solidFill>
                <a:latin typeface="Arial" panose="020B0604020202020204" pitchFamily="34" charset="0"/>
                <a:cs typeface="Arial" panose="020B0604020202020204" pitchFamily="34" charset="0"/>
              </a:rPr>
              <a:t>State and local officials may choose to offer their voters </a:t>
            </a:r>
            <a:r>
              <a:rPr lang="en-US" sz="2400" dirty="0">
                <a:solidFill>
                  <a:srgbClr val="1F4E79"/>
                </a:solidFill>
                <a:latin typeface="Arial" panose="020B0604020202020204" pitchFamily="34" charset="0"/>
                <a:cs typeface="Arial" panose="020B0604020202020204" pitchFamily="34" charset="0"/>
              </a:rPr>
              <a:t>a </a:t>
            </a:r>
            <a:r>
              <a:rPr lang="en-US" sz="2400" dirty="0">
                <a:solidFill>
                  <a:schemeClr val="accent1">
                    <a:lumMod val="50000"/>
                  </a:schemeClr>
                </a:solidFill>
                <a:latin typeface="Arial" panose="020B0604020202020204" pitchFamily="34" charset="0"/>
                <a:cs typeface="Arial" panose="020B0604020202020204" pitchFamily="34" charset="0"/>
              </a:rPr>
              <a:t>prepaid reply mail option such as:  </a:t>
            </a:r>
          </a:p>
          <a:p>
            <a:pPr marL="0" indent="-685731" defTabSz="914126" fontAlgn="base">
              <a:lnSpc>
                <a:spcPct val="100000"/>
              </a:lnSpc>
              <a:spcBef>
                <a:spcPts val="1200"/>
              </a:spcBef>
              <a:spcAft>
                <a:spcPts val="600"/>
              </a:spcAft>
              <a:buClr>
                <a:srgbClr val="000000"/>
              </a:buClr>
              <a:buSzPct val="100000"/>
              <a:buNone/>
              <a:defRPr/>
            </a:pPr>
            <a:endParaRPr lang="en-US" sz="2400" dirty="0">
              <a:solidFill>
                <a:schemeClr val="accent1">
                  <a:lumMod val="50000"/>
                </a:schemeClr>
              </a:solidFill>
              <a:latin typeface="Arial" panose="020B0604020202020204" pitchFamily="34" charset="0"/>
              <a:cs typeface="Arial" panose="020B0604020202020204" pitchFamily="34" charset="0"/>
            </a:endParaRPr>
          </a:p>
          <a:p>
            <a:pPr marL="457200" lvl="2" indent="-228531" defTabSz="914126" fontAlgn="base">
              <a:lnSpc>
                <a:spcPct val="100000"/>
              </a:lnSpc>
              <a:spcBef>
                <a:spcPts val="1200"/>
              </a:spcBef>
              <a:spcAft>
                <a:spcPts val="600"/>
              </a:spcAft>
              <a:buClr>
                <a:srgbClr val="000000"/>
              </a:buClr>
              <a:buSzPct val="100000"/>
              <a:buNone/>
              <a:defRPr/>
            </a:pPr>
            <a:endParaRPr lang="en-US" sz="2400" dirty="0">
              <a:solidFill>
                <a:schemeClr val="accent1">
                  <a:lumMod val="50000"/>
                </a:schemeClr>
              </a:solidFill>
              <a:latin typeface="Arial" panose="020B0604020202020204" pitchFamily="34" charset="0"/>
              <a:cs typeface="Arial" panose="020B0604020202020204" pitchFamily="34" charset="0"/>
            </a:endParaRPr>
          </a:p>
          <a:p>
            <a:pPr marL="0" lvl="1" indent="-228531" defTabSz="914126" fontAlgn="base">
              <a:lnSpc>
                <a:spcPct val="70000"/>
              </a:lnSpc>
              <a:spcBef>
                <a:spcPts val="1200"/>
              </a:spcBef>
              <a:spcAft>
                <a:spcPts val="600"/>
              </a:spcAft>
              <a:buClr>
                <a:srgbClr val="000000"/>
              </a:buClr>
              <a:buSzPct val="100000"/>
              <a:buNone/>
              <a:defRPr/>
            </a:pPr>
            <a:endParaRPr lang="en-US" sz="3600" b="1" u="sng" dirty="0">
              <a:solidFill>
                <a:schemeClr val="accent1">
                  <a:lumMod val="50000"/>
                </a:schemeClr>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1</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sp>
        <p:nvSpPr>
          <p:cNvPr id="4" name="TextBox 3">
            <a:extLst>
              <a:ext uri="{FF2B5EF4-FFF2-40B4-BE49-F238E27FC236}">
                <a16:creationId xmlns:a16="http://schemas.microsoft.com/office/drawing/2014/main" id="{5AE2D2B0-A4E4-66B8-A7AC-EB579C451B24}"/>
              </a:ext>
            </a:extLst>
          </p:cNvPr>
          <p:cNvSpPr txBox="1"/>
          <p:nvPr/>
        </p:nvSpPr>
        <p:spPr>
          <a:xfrm>
            <a:off x="1529219" y="4703045"/>
            <a:ext cx="10396603" cy="1446550"/>
          </a:xfrm>
          <a:prstGeom prst="rect">
            <a:avLst/>
          </a:prstGeom>
          <a:noFill/>
        </p:spPr>
        <p:txBody>
          <a:bodyPr wrap="square" numCol="2" rtlCol="0">
            <a:spAutoFit/>
          </a:bodyPr>
          <a:lstStyle/>
          <a:p>
            <a:pPr lvl="0"/>
            <a:r>
              <a:rPr lang="en-US" sz="2200" dirty="0">
                <a:solidFill>
                  <a:schemeClr val="accent1">
                    <a:lumMod val="50000"/>
                  </a:schemeClr>
                </a:solidFill>
                <a:latin typeface="Arial" panose="020B0604020202020204" pitchFamily="34" charset="0"/>
                <a:cs typeface="Arial" panose="020B0604020202020204" pitchFamily="34" charset="0"/>
              </a:rPr>
              <a:t>Business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Qualified Business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Metered Reply Mail</a:t>
            </a:r>
          </a:p>
          <a:p>
            <a:pPr lvl="0"/>
            <a:endParaRPr lang="en-US" sz="2200" dirty="0">
              <a:latin typeface="Arial" panose="020B0604020202020204" pitchFamily="34" charset="0"/>
              <a:cs typeface="Arial" panose="020B0604020202020204" pitchFamily="34" charset="0"/>
            </a:endParaRPr>
          </a:p>
          <a:p>
            <a:pPr lvl="0"/>
            <a:r>
              <a:rPr lang="en-US" sz="2200" dirty="0">
                <a:solidFill>
                  <a:schemeClr val="accent1">
                    <a:lumMod val="50000"/>
                  </a:schemeClr>
                </a:solidFill>
                <a:latin typeface="Arial" panose="020B0604020202020204" pitchFamily="34" charset="0"/>
                <a:cs typeface="Arial" panose="020B0604020202020204" pitchFamily="34" charset="0"/>
              </a:rPr>
              <a:t>Permit Reply Mail</a:t>
            </a:r>
          </a:p>
          <a:p>
            <a:pPr lvl="0"/>
            <a:r>
              <a:rPr lang="en-US" sz="2200" dirty="0">
                <a:solidFill>
                  <a:schemeClr val="accent1">
                    <a:lumMod val="50000"/>
                  </a:schemeClr>
                </a:solidFill>
                <a:latin typeface="Arial" panose="020B0604020202020204" pitchFamily="34" charset="0"/>
                <a:cs typeface="Arial" panose="020B0604020202020204" pitchFamily="34" charset="0"/>
              </a:rPr>
              <a:t>Stamps</a:t>
            </a:r>
          </a:p>
          <a:p>
            <a:endParaRPr lang="en-US" dirty="0"/>
          </a:p>
        </p:txBody>
      </p:sp>
      <p:sp>
        <p:nvSpPr>
          <p:cNvPr id="6" name="TextBox 5">
            <a:extLst>
              <a:ext uri="{FF2B5EF4-FFF2-40B4-BE49-F238E27FC236}">
                <a16:creationId xmlns:a16="http://schemas.microsoft.com/office/drawing/2014/main" id="{410C94C6-A708-EB1F-FC01-F6E638AE5CEE}"/>
              </a:ext>
            </a:extLst>
          </p:cNvPr>
          <p:cNvSpPr txBox="1"/>
          <p:nvPr/>
        </p:nvSpPr>
        <p:spPr>
          <a:xfrm>
            <a:off x="8619067" y="5733642"/>
            <a:ext cx="3799958" cy="941796"/>
          </a:xfrm>
          <a:prstGeom prst="rect">
            <a:avLst/>
          </a:prstGeom>
          <a:noFill/>
        </p:spPr>
        <p:txBody>
          <a:bodyPr wrap="square" rtlCol="0">
            <a:spAutoFit/>
          </a:body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rPr>
              <a:t>For more information, contact </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rPr>
              <a:t>Mailing &amp; Shipping Solution Center (MSSC) </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MSSCadmin@usps.gov</a:t>
            </a:r>
            <a:endParaRPr kumimoji="0" lang="en-US" sz="1200" b="1"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rPr>
              <a:t>or 1-877-672-0007</a:t>
            </a:r>
            <a:endParaRPr kumimoji="0" lang="en-US" sz="1200" b="0" i="0" u="none" strike="noStrike" kern="1200" cap="none" spc="0" normalizeH="0" baseline="0" noProof="0" dirty="0">
              <a:ln>
                <a:noFill/>
              </a:ln>
              <a:solidFill>
                <a:srgbClr val="1F4E79"/>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56037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2</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pic>
        <p:nvPicPr>
          <p:cNvPr id="6" name="Picture 5" descr="Graphical user interface, application&#10;&#10;Description automatically generated">
            <a:extLst>
              <a:ext uri="{FF2B5EF4-FFF2-40B4-BE49-F238E27FC236}">
                <a16:creationId xmlns:a16="http://schemas.microsoft.com/office/drawing/2014/main" id="{CD04BB1B-D197-8191-31FE-E1F4FA5B95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825818"/>
            <a:ext cx="11863754" cy="5711845"/>
          </a:xfrm>
          <a:prstGeom prst="rect">
            <a:avLst/>
          </a:prstGeom>
        </p:spPr>
      </p:pic>
    </p:spTree>
    <p:extLst>
      <p:ext uri="{BB962C8B-B14F-4D97-AF65-F5344CB8AC3E}">
        <p14:creationId xmlns:p14="http://schemas.microsoft.com/office/powerpoint/2010/main" val="20212633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0"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7" name="object 7"/>
          <p:cNvSpPr/>
          <p:nvPr/>
        </p:nvSpPr>
        <p:spPr>
          <a:xfrm>
            <a:off x="0"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 name="object 8"/>
          <p:cNvSpPr/>
          <p:nvPr/>
        </p:nvSpPr>
        <p:spPr>
          <a:xfrm>
            <a:off x="0"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9" name="object 9"/>
          <p:cNvSpPr/>
          <p:nvPr/>
        </p:nvSpPr>
        <p:spPr>
          <a:xfrm>
            <a:off x="0"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0" name="object 10"/>
          <p:cNvSpPr/>
          <p:nvPr/>
        </p:nvSpPr>
        <p:spPr>
          <a:xfrm>
            <a:off x="-87558"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 name="object 11"/>
          <p:cNvSpPr/>
          <p:nvPr/>
        </p:nvSpPr>
        <p:spPr>
          <a:xfrm>
            <a:off x="-87558"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 name="object 12"/>
          <p:cNvSpPr/>
          <p:nvPr/>
        </p:nvSpPr>
        <p:spPr>
          <a:xfrm>
            <a:off x="-87558"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 name="object 13"/>
          <p:cNvSpPr/>
          <p:nvPr/>
        </p:nvSpPr>
        <p:spPr>
          <a:xfrm>
            <a:off x="-87558"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4" name="object 14"/>
          <p:cNvSpPr/>
          <p:nvPr/>
        </p:nvSpPr>
        <p:spPr>
          <a:xfrm>
            <a:off x="-87558" y="247492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 name="object 18"/>
          <p:cNvSpPr/>
          <p:nvPr/>
        </p:nvSpPr>
        <p:spPr>
          <a:xfrm>
            <a:off x="316991" y="784859"/>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 name="object 19"/>
          <p:cNvSpPr/>
          <p:nvPr/>
        </p:nvSpPr>
        <p:spPr>
          <a:xfrm>
            <a:off x="316991" y="1045463"/>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 name="object 20"/>
          <p:cNvSpPr/>
          <p:nvPr/>
        </p:nvSpPr>
        <p:spPr>
          <a:xfrm>
            <a:off x="316991" y="1304544"/>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 name="object 21"/>
          <p:cNvSpPr/>
          <p:nvPr/>
        </p:nvSpPr>
        <p:spPr>
          <a:xfrm>
            <a:off x="316991" y="1566672"/>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 name="object 22"/>
          <p:cNvSpPr/>
          <p:nvPr/>
        </p:nvSpPr>
        <p:spPr>
          <a:xfrm>
            <a:off x="229433" y="1432506"/>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 name="object 24"/>
          <p:cNvSpPr/>
          <p:nvPr/>
        </p:nvSpPr>
        <p:spPr>
          <a:xfrm>
            <a:off x="632459"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 name="object 26"/>
          <p:cNvSpPr/>
          <p:nvPr/>
        </p:nvSpPr>
        <p:spPr>
          <a:xfrm>
            <a:off x="632459"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 name="object 27"/>
          <p:cNvSpPr/>
          <p:nvPr/>
        </p:nvSpPr>
        <p:spPr>
          <a:xfrm>
            <a:off x="632459"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8" name="object 28"/>
          <p:cNvSpPr/>
          <p:nvPr/>
        </p:nvSpPr>
        <p:spPr>
          <a:xfrm>
            <a:off x="632459"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9" name="object 29"/>
          <p:cNvSpPr/>
          <p:nvPr/>
        </p:nvSpPr>
        <p:spPr>
          <a:xfrm>
            <a:off x="632459"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 name="object 30"/>
          <p:cNvSpPr/>
          <p:nvPr/>
        </p:nvSpPr>
        <p:spPr>
          <a:xfrm>
            <a:off x="544901"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 name="object 31"/>
          <p:cNvSpPr/>
          <p:nvPr/>
        </p:nvSpPr>
        <p:spPr>
          <a:xfrm>
            <a:off x="544901"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 name="object 32"/>
          <p:cNvSpPr/>
          <p:nvPr/>
        </p:nvSpPr>
        <p:spPr>
          <a:xfrm>
            <a:off x="544901"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3" name="object 33"/>
          <p:cNvSpPr/>
          <p:nvPr/>
        </p:nvSpPr>
        <p:spPr>
          <a:xfrm>
            <a:off x="544901"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7" name="object 37"/>
          <p:cNvSpPr/>
          <p:nvPr/>
        </p:nvSpPr>
        <p:spPr>
          <a:xfrm>
            <a:off x="947927" y="784859"/>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8" name="object 38"/>
          <p:cNvSpPr/>
          <p:nvPr/>
        </p:nvSpPr>
        <p:spPr>
          <a:xfrm>
            <a:off x="947927" y="1045463"/>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9" name="object 39"/>
          <p:cNvSpPr/>
          <p:nvPr/>
        </p:nvSpPr>
        <p:spPr>
          <a:xfrm>
            <a:off x="947927" y="1304544"/>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 name="object 40"/>
          <p:cNvSpPr/>
          <p:nvPr/>
        </p:nvSpPr>
        <p:spPr>
          <a:xfrm>
            <a:off x="947927" y="1566672"/>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1" name="object 41"/>
          <p:cNvSpPr/>
          <p:nvPr/>
        </p:nvSpPr>
        <p:spPr>
          <a:xfrm>
            <a:off x="860369" y="1432506"/>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2" name="object 42"/>
          <p:cNvSpPr/>
          <p:nvPr/>
        </p:nvSpPr>
        <p:spPr>
          <a:xfrm>
            <a:off x="860369" y="1693110"/>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4" name="object 44"/>
          <p:cNvSpPr/>
          <p:nvPr/>
        </p:nvSpPr>
        <p:spPr>
          <a:xfrm>
            <a:off x="860369" y="2217366"/>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5" name="object 45"/>
          <p:cNvSpPr/>
          <p:nvPr/>
        </p:nvSpPr>
        <p:spPr>
          <a:xfrm>
            <a:off x="860369" y="2474922"/>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6" name="object 46"/>
          <p:cNvSpPr/>
          <p:nvPr/>
        </p:nvSpPr>
        <p:spPr>
          <a:xfrm>
            <a:off x="860369" y="2737050"/>
            <a:ext cx="192405" cy="192405"/>
          </a:xfrm>
          <a:custGeom>
            <a:avLst/>
            <a:gdLst/>
            <a:ahLst/>
            <a:cxnLst/>
            <a:rect l="l" t="t" r="r" b="b"/>
            <a:pathLst>
              <a:path w="192405"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7" name="object 47"/>
          <p:cNvSpPr/>
          <p:nvPr/>
        </p:nvSpPr>
        <p:spPr>
          <a:xfrm>
            <a:off x="860369" y="3000702"/>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51" name="object 51"/>
          <p:cNvSpPr/>
          <p:nvPr/>
        </p:nvSpPr>
        <p:spPr>
          <a:xfrm>
            <a:off x="1261872"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52" name="object 52"/>
          <p:cNvSpPr/>
          <p:nvPr/>
        </p:nvSpPr>
        <p:spPr>
          <a:xfrm>
            <a:off x="1261872"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53" name="object 53"/>
          <p:cNvSpPr/>
          <p:nvPr/>
        </p:nvSpPr>
        <p:spPr>
          <a:xfrm>
            <a:off x="1261872"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54" name="object 54"/>
          <p:cNvSpPr/>
          <p:nvPr/>
        </p:nvSpPr>
        <p:spPr>
          <a:xfrm>
            <a:off x="1261872"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55" name="object 55"/>
          <p:cNvSpPr/>
          <p:nvPr/>
        </p:nvSpPr>
        <p:spPr>
          <a:xfrm>
            <a:off x="1174314"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56" name="object 56"/>
          <p:cNvSpPr/>
          <p:nvPr/>
        </p:nvSpPr>
        <p:spPr>
          <a:xfrm>
            <a:off x="1174314"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57" name="object 57"/>
          <p:cNvSpPr/>
          <p:nvPr/>
        </p:nvSpPr>
        <p:spPr>
          <a:xfrm>
            <a:off x="1174314"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61" name="object 61"/>
          <p:cNvSpPr/>
          <p:nvPr/>
        </p:nvSpPr>
        <p:spPr>
          <a:xfrm>
            <a:off x="1578863"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62" name="object 62"/>
          <p:cNvSpPr/>
          <p:nvPr/>
        </p:nvSpPr>
        <p:spPr>
          <a:xfrm>
            <a:off x="1578863"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63" name="object 63"/>
          <p:cNvSpPr/>
          <p:nvPr/>
        </p:nvSpPr>
        <p:spPr>
          <a:xfrm>
            <a:off x="1578863"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64" name="object 64"/>
          <p:cNvSpPr/>
          <p:nvPr/>
        </p:nvSpPr>
        <p:spPr>
          <a:xfrm>
            <a:off x="1578863"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65" name="object 65"/>
          <p:cNvSpPr/>
          <p:nvPr/>
        </p:nvSpPr>
        <p:spPr>
          <a:xfrm>
            <a:off x="1491305"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66" name="object 66"/>
          <p:cNvSpPr/>
          <p:nvPr/>
        </p:nvSpPr>
        <p:spPr>
          <a:xfrm>
            <a:off x="1491305"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67" name="object 67"/>
          <p:cNvSpPr/>
          <p:nvPr/>
        </p:nvSpPr>
        <p:spPr>
          <a:xfrm>
            <a:off x="1491305"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68" name="object 68"/>
          <p:cNvSpPr/>
          <p:nvPr/>
        </p:nvSpPr>
        <p:spPr>
          <a:xfrm>
            <a:off x="1491305"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72" name="object 72"/>
          <p:cNvSpPr/>
          <p:nvPr/>
        </p:nvSpPr>
        <p:spPr>
          <a:xfrm>
            <a:off x="1897379" y="784859"/>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73" name="object 73"/>
          <p:cNvSpPr/>
          <p:nvPr/>
        </p:nvSpPr>
        <p:spPr>
          <a:xfrm>
            <a:off x="1897379" y="1045463"/>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74" name="object 74"/>
          <p:cNvSpPr/>
          <p:nvPr/>
        </p:nvSpPr>
        <p:spPr>
          <a:xfrm>
            <a:off x="1897379" y="1304544"/>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75" name="object 75"/>
          <p:cNvSpPr/>
          <p:nvPr/>
        </p:nvSpPr>
        <p:spPr>
          <a:xfrm>
            <a:off x="1897379" y="1566672"/>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76" name="object 76"/>
          <p:cNvSpPr/>
          <p:nvPr/>
        </p:nvSpPr>
        <p:spPr>
          <a:xfrm>
            <a:off x="1809821" y="1432506"/>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80" name="object 80"/>
          <p:cNvSpPr/>
          <p:nvPr/>
        </p:nvSpPr>
        <p:spPr>
          <a:xfrm>
            <a:off x="2209800" y="784859"/>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1" name="object 81"/>
          <p:cNvSpPr/>
          <p:nvPr/>
        </p:nvSpPr>
        <p:spPr>
          <a:xfrm>
            <a:off x="2209800" y="1045463"/>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2" name="object 82"/>
          <p:cNvSpPr/>
          <p:nvPr/>
        </p:nvSpPr>
        <p:spPr>
          <a:xfrm>
            <a:off x="2209800" y="1304544"/>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83" name="object 83"/>
          <p:cNvSpPr/>
          <p:nvPr/>
        </p:nvSpPr>
        <p:spPr>
          <a:xfrm>
            <a:off x="2209800" y="1566672"/>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84" name="object 84"/>
          <p:cNvSpPr/>
          <p:nvPr/>
        </p:nvSpPr>
        <p:spPr>
          <a:xfrm>
            <a:off x="2122242" y="1432506"/>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85" name="object 85"/>
          <p:cNvSpPr/>
          <p:nvPr/>
        </p:nvSpPr>
        <p:spPr>
          <a:xfrm>
            <a:off x="2122242" y="1693110"/>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6" name="object 86"/>
          <p:cNvSpPr/>
          <p:nvPr/>
        </p:nvSpPr>
        <p:spPr>
          <a:xfrm>
            <a:off x="2122242" y="1955238"/>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7" name="object 87"/>
          <p:cNvSpPr/>
          <p:nvPr/>
        </p:nvSpPr>
        <p:spPr>
          <a:xfrm>
            <a:off x="2122242" y="2217366"/>
            <a:ext cx="192405" cy="190500"/>
          </a:xfrm>
          <a:custGeom>
            <a:avLst/>
            <a:gdLst/>
            <a:ahLst/>
            <a:cxnLst/>
            <a:rect l="l" t="t" r="r" b="b"/>
            <a:pathLst>
              <a:path w="192405"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88" name="object 88"/>
          <p:cNvSpPr/>
          <p:nvPr/>
        </p:nvSpPr>
        <p:spPr>
          <a:xfrm>
            <a:off x="2122242" y="2474922"/>
            <a:ext cx="192405" cy="192405"/>
          </a:xfrm>
          <a:custGeom>
            <a:avLst/>
            <a:gdLst/>
            <a:ahLst/>
            <a:cxnLst/>
            <a:rect l="l" t="t" r="r" b="b"/>
            <a:pathLst>
              <a:path w="192405"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89" name="object 89"/>
          <p:cNvSpPr/>
          <p:nvPr/>
        </p:nvSpPr>
        <p:spPr>
          <a:xfrm>
            <a:off x="2122242" y="2737050"/>
            <a:ext cx="192405" cy="192405"/>
          </a:xfrm>
          <a:custGeom>
            <a:avLst/>
            <a:gdLst/>
            <a:ahLst/>
            <a:cxnLst/>
            <a:rect l="l" t="t" r="r" b="b"/>
            <a:pathLst>
              <a:path w="192405"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93" name="object 93"/>
          <p:cNvSpPr/>
          <p:nvPr/>
        </p:nvSpPr>
        <p:spPr>
          <a:xfrm>
            <a:off x="2526792"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94" name="object 94"/>
          <p:cNvSpPr/>
          <p:nvPr/>
        </p:nvSpPr>
        <p:spPr>
          <a:xfrm>
            <a:off x="2526792"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95" name="object 95"/>
          <p:cNvSpPr/>
          <p:nvPr/>
        </p:nvSpPr>
        <p:spPr>
          <a:xfrm>
            <a:off x="2526792"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96" name="object 96"/>
          <p:cNvSpPr/>
          <p:nvPr/>
        </p:nvSpPr>
        <p:spPr>
          <a:xfrm>
            <a:off x="2526792"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97" name="object 97"/>
          <p:cNvSpPr/>
          <p:nvPr/>
        </p:nvSpPr>
        <p:spPr>
          <a:xfrm>
            <a:off x="2439234"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98" name="object 98"/>
          <p:cNvSpPr/>
          <p:nvPr/>
        </p:nvSpPr>
        <p:spPr>
          <a:xfrm>
            <a:off x="2439234"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99" name="object 99"/>
          <p:cNvSpPr/>
          <p:nvPr/>
        </p:nvSpPr>
        <p:spPr>
          <a:xfrm>
            <a:off x="2439234"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01" name="object 101"/>
          <p:cNvSpPr/>
          <p:nvPr/>
        </p:nvSpPr>
        <p:spPr>
          <a:xfrm>
            <a:off x="2842260"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03" name="object 103"/>
          <p:cNvSpPr/>
          <p:nvPr/>
        </p:nvSpPr>
        <p:spPr>
          <a:xfrm>
            <a:off x="2842260"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04" name="object 104"/>
          <p:cNvSpPr/>
          <p:nvPr/>
        </p:nvSpPr>
        <p:spPr>
          <a:xfrm>
            <a:off x="2842260"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05" name="object 105"/>
          <p:cNvSpPr/>
          <p:nvPr/>
        </p:nvSpPr>
        <p:spPr>
          <a:xfrm>
            <a:off x="2842260"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06" name="object 106"/>
          <p:cNvSpPr/>
          <p:nvPr/>
        </p:nvSpPr>
        <p:spPr>
          <a:xfrm>
            <a:off x="2842260"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07" name="object 107"/>
          <p:cNvSpPr/>
          <p:nvPr/>
        </p:nvSpPr>
        <p:spPr>
          <a:xfrm>
            <a:off x="2754702"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08" name="object 108"/>
          <p:cNvSpPr/>
          <p:nvPr/>
        </p:nvSpPr>
        <p:spPr>
          <a:xfrm>
            <a:off x="2754702"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09" name="object 109"/>
          <p:cNvSpPr/>
          <p:nvPr/>
        </p:nvSpPr>
        <p:spPr>
          <a:xfrm>
            <a:off x="2754702"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10" name="object 110"/>
          <p:cNvSpPr/>
          <p:nvPr/>
        </p:nvSpPr>
        <p:spPr>
          <a:xfrm>
            <a:off x="3159251"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11" name="object 111"/>
          <p:cNvSpPr/>
          <p:nvPr/>
        </p:nvSpPr>
        <p:spPr>
          <a:xfrm>
            <a:off x="3159251"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2" name="object 112"/>
          <p:cNvSpPr/>
          <p:nvPr/>
        </p:nvSpPr>
        <p:spPr>
          <a:xfrm>
            <a:off x="3159251"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3" name="object 113"/>
          <p:cNvSpPr/>
          <p:nvPr/>
        </p:nvSpPr>
        <p:spPr>
          <a:xfrm>
            <a:off x="3159251"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14" name="object 114"/>
          <p:cNvSpPr/>
          <p:nvPr/>
        </p:nvSpPr>
        <p:spPr>
          <a:xfrm>
            <a:off x="3159251"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15" name="object 115"/>
          <p:cNvSpPr/>
          <p:nvPr/>
        </p:nvSpPr>
        <p:spPr>
          <a:xfrm>
            <a:off x="3159251"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6" name="object 116"/>
          <p:cNvSpPr/>
          <p:nvPr/>
        </p:nvSpPr>
        <p:spPr>
          <a:xfrm>
            <a:off x="3159251"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7" name="object 117"/>
          <p:cNvSpPr/>
          <p:nvPr/>
        </p:nvSpPr>
        <p:spPr>
          <a:xfrm>
            <a:off x="3071693"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18" name="object 118"/>
          <p:cNvSpPr/>
          <p:nvPr/>
        </p:nvSpPr>
        <p:spPr>
          <a:xfrm>
            <a:off x="3071693"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19" name="object 119"/>
          <p:cNvSpPr/>
          <p:nvPr/>
        </p:nvSpPr>
        <p:spPr>
          <a:xfrm>
            <a:off x="3071693"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0" name="object 120"/>
          <p:cNvSpPr/>
          <p:nvPr/>
        </p:nvSpPr>
        <p:spPr>
          <a:xfrm>
            <a:off x="3071693"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1" name="object 121"/>
          <p:cNvSpPr/>
          <p:nvPr/>
        </p:nvSpPr>
        <p:spPr>
          <a:xfrm>
            <a:off x="3473196"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2" name="object 122"/>
          <p:cNvSpPr/>
          <p:nvPr/>
        </p:nvSpPr>
        <p:spPr>
          <a:xfrm>
            <a:off x="3473196"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23" name="object 123"/>
          <p:cNvSpPr/>
          <p:nvPr/>
        </p:nvSpPr>
        <p:spPr>
          <a:xfrm>
            <a:off x="3473196"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24" name="object 124"/>
          <p:cNvSpPr/>
          <p:nvPr/>
        </p:nvSpPr>
        <p:spPr>
          <a:xfrm>
            <a:off x="3473196"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5" name="object 125"/>
          <p:cNvSpPr/>
          <p:nvPr/>
        </p:nvSpPr>
        <p:spPr>
          <a:xfrm>
            <a:off x="3473196"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26" name="object 126"/>
          <p:cNvSpPr/>
          <p:nvPr/>
        </p:nvSpPr>
        <p:spPr>
          <a:xfrm>
            <a:off x="3473196"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27" name="object 127"/>
          <p:cNvSpPr/>
          <p:nvPr/>
        </p:nvSpPr>
        <p:spPr>
          <a:xfrm>
            <a:off x="3473196"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28" name="object 128"/>
          <p:cNvSpPr/>
          <p:nvPr/>
        </p:nvSpPr>
        <p:spPr>
          <a:xfrm>
            <a:off x="3385638"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29" name="object 129"/>
          <p:cNvSpPr/>
          <p:nvPr/>
        </p:nvSpPr>
        <p:spPr>
          <a:xfrm>
            <a:off x="3385638"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0" name="object 130"/>
          <p:cNvSpPr/>
          <p:nvPr/>
        </p:nvSpPr>
        <p:spPr>
          <a:xfrm>
            <a:off x="3385638"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1" name="object 131"/>
          <p:cNvSpPr/>
          <p:nvPr/>
        </p:nvSpPr>
        <p:spPr>
          <a:xfrm>
            <a:off x="3385638"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2" name="object 132"/>
          <p:cNvSpPr/>
          <p:nvPr/>
        </p:nvSpPr>
        <p:spPr>
          <a:xfrm>
            <a:off x="3385638" y="247492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33" name="object 133"/>
          <p:cNvSpPr/>
          <p:nvPr/>
        </p:nvSpPr>
        <p:spPr>
          <a:xfrm>
            <a:off x="3385638" y="2737050"/>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34" name="object 134"/>
          <p:cNvSpPr/>
          <p:nvPr/>
        </p:nvSpPr>
        <p:spPr>
          <a:xfrm>
            <a:off x="3788664" y="0"/>
            <a:ext cx="193675" cy="190500"/>
          </a:xfrm>
          <a:custGeom>
            <a:avLst/>
            <a:gdLst/>
            <a:ahLst/>
            <a:cxnLst/>
            <a:rect l="l" t="t" r="r" b="b"/>
            <a:pathLst>
              <a:path w="193675" h="190500">
                <a:moveTo>
                  <a:pt x="0" y="190500"/>
                </a:moveTo>
                <a:lnTo>
                  <a:pt x="193548" y="190500"/>
                </a:lnTo>
                <a:lnTo>
                  <a:pt x="193548"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5" name="object 135"/>
          <p:cNvSpPr/>
          <p:nvPr/>
        </p:nvSpPr>
        <p:spPr>
          <a:xfrm>
            <a:off x="3788664" y="262127"/>
            <a:ext cx="193675" cy="192405"/>
          </a:xfrm>
          <a:custGeom>
            <a:avLst/>
            <a:gdLst/>
            <a:ahLst/>
            <a:cxnLst/>
            <a:rect l="l" t="t" r="r" b="b"/>
            <a:pathLst>
              <a:path w="193675" h="192404">
                <a:moveTo>
                  <a:pt x="0" y="192024"/>
                </a:moveTo>
                <a:lnTo>
                  <a:pt x="193548" y="192024"/>
                </a:lnTo>
                <a:lnTo>
                  <a:pt x="193548"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36" name="object 136"/>
          <p:cNvSpPr/>
          <p:nvPr/>
        </p:nvSpPr>
        <p:spPr>
          <a:xfrm>
            <a:off x="3788664" y="521208"/>
            <a:ext cx="193675" cy="192405"/>
          </a:xfrm>
          <a:custGeom>
            <a:avLst/>
            <a:gdLst/>
            <a:ahLst/>
            <a:cxnLst/>
            <a:rect l="l" t="t" r="r" b="b"/>
            <a:pathLst>
              <a:path w="193675" h="192404">
                <a:moveTo>
                  <a:pt x="0" y="192024"/>
                </a:moveTo>
                <a:lnTo>
                  <a:pt x="193548" y="192024"/>
                </a:lnTo>
                <a:lnTo>
                  <a:pt x="193548"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38" name="object 138"/>
          <p:cNvSpPr/>
          <p:nvPr/>
        </p:nvSpPr>
        <p:spPr>
          <a:xfrm>
            <a:off x="3788664" y="1045463"/>
            <a:ext cx="193675" cy="190500"/>
          </a:xfrm>
          <a:custGeom>
            <a:avLst/>
            <a:gdLst/>
            <a:ahLst/>
            <a:cxnLst/>
            <a:rect l="l" t="t" r="r" b="b"/>
            <a:pathLst>
              <a:path w="193675" h="190500">
                <a:moveTo>
                  <a:pt x="0" y="190500"/>
                </a:moveTo>
                <a:lnTo>
                  <a:pt x="193548" y="190500"/>
                </a:lnTo>
                <a:lnTo>
                  <a:pt x="193548"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39" name="object 139"/>
          <p:cNvSpPr/>
          <p:nvPr/>
        </p:nvSpPr>
        <p:spPr>
          <a:xfrm>
            <a:off x="3788664" y="1304544"/>
            <a:ext cx="193675" cy="192405"/>
          </a:xfrm>
          <a:custGeom>
            <a:avLst/>
            <a:gdLst/>
            <a:ahLst/>
            <a:cxnLst/>
            <a:rect l="l" t="t" r="r" b="b"/>
            <a:pathLst>
              <a:path w="193675" h="192405">
                <a:moveTo>
                  <a:pt x="0" y="192024"/>
                </a:moveTo>
                <a:lnTo>
                  <a:pt x="193548" y="192024"/>
                </a:lnTo>
                <a:lnTo>
                  <a:pt x="193548"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0" name="object 140"/>
          <p:cNvSpPr/>
          <p:nvPr/>
        </p:nvSpPr>
        <p:spPr>
          <a:xfrm>
            <a:off x="3788664" y="1566672"/>
            <a:ext cx="193675" cy="192405"/>
          </a:xfrm>
          <a:custGeom>
            <a:avLst/>
            <a:gdLst/>
            <a:ahLst/>
            <a:cxnLst/>
            <a:rect l="l" t="t" r="r" b="b"/>
            <a:pathLst>
              <a:path w="193675" h="192405">
                <a:moveTo>
                  <a:pt x="0" y="192024"/>
                </a:moveTo>
                <a:lnTo>
                  <a:pt x="193548" y="192024"/>
                </a:lnTo>
                <a:lnTo>
                  <a:pt x="193548"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1" name="object 141"/>
          <p:cNvSpPr/>
          <p:nvPr/>
        </p:nvSpPr>
        <p:spPr>
          <a:xfrm>
            <a:off x="3701106" y="1432506"/>
            <a:ext cx="193675" cy="192405"/>
          </a:xfrm>
          <a:custGeom>
            <a:avLst/>
            <a:gdLst/>
            <a:ahLst/>
            <a:cxnLst/>
            <a:rect l="l" t="t" r="r" b="b"/>
            <a:pathLst>
              <a:path w="193675" h="192405">
                <a:moveTo>
                  <a:pt x="0" y="192024"/>
                </a:moveTo>
                <a:lnTo>
                  <a:pt x="193548" y="192024"/>
                </a:lnTo>
                <a:lnTo>
                  <a:pt x="193548"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2" name="object 142"/>
          <p:cNvSpPr/>
          <p:nvPr/>
        </p:nvSpPr>
        <p:spPr>
          <a:xfrm>
            <a:off x="4107179" y="0"/>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43" name="object 143"/>
          <p:cNvSpPr/>
          <p:nvPr/>
        </p:nvSpPr>
        <p:spPr>
          <a:xfrm>
            <a:off x="4107179" y="262127"/>
            <a:ext cx="187960" cy="192405"/>
          </a:xfrm>
          <a:custGeom>
            <a:avLst/>
            <a:gdLst/>
            <a:ahLst/>
            <a:cxnLst/>
            <a:rect l="l" t="t" r="r" b="b"/>
            <a:pathLst>
              <a:path w="187960"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4" name="object 144"/>
          <p:cNvSpPr/>
          <p:nvPr/>
        </p:nvSpPr>
        <p:spPr>
          <a:xfrm>
            <a:off x="4107179" y="521208"/>
            <a:ext cx="187960" cy="192405"/>
          </a:xfrm>
          <a:custGeom>
            <a:avLst/>
            <a:gdLst/>
            <a:ahLst/>
            <a:cxnLst/>
            <a:rect l="l" t="t" r="r" b="b"/>
            <a:pathLst>
              <a:path w="187960"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5" name="object 145"/>
          <p:cNvSpPr/>
          <p:nvPr/>
        </p:nvSpPr>
        <p:spPr>
          <a:xfrm>
            <a:off x="4107179" y="784859"/>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46" name="object 146"/>
          <p:cNvSpPr/>
          <p:nvPr/>
        </p:nvSpPr>
        <p:spPr>
          <a:xfrm>
            <a:off x="4107179" y="1045463"/>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47" name="object 147"/>
          <p:cNvSpPr/>
          <p:nvPr/>
        </p:nvSpPr>
        <p:spPr>
          <a:xfrm>
            <a:off x="4107179" y="1304544"/>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8" name="object 148"/>
          <p:cNvSpPr/>
          <p:nvPr/>
        </p:nvSpPr>
        <p:spPr>
          <a:xfrm>
            <a:off x="4107179" y="1566672"/>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49" name="object 149"/>
          <p:cNvSpPr/>
          <p:nvPr/>
        </p:nvSpPr>
        <p:spPr>
          <a:xfrm>
            <a:off x="4019621" y="1432506"/>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50" name="object 150"/>
          <p:cNvSpPr/>
          <p:nvPr/>
        </p:nvSpPr>
        <p:spPr>
          <a:xfrm>
            <a:off x="4019621" y="1693110"/>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51" name="object 151"/>
          <p:cNvSpPr/>
          <p:nvPr/>
        </p:nvSpPr>
        <p:spPr>
          <a:xfrm>
            <a:off x="4019621" y="1955238"/>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52" name="object 152"/>
          <p:cNvSpPr/>
          <p:nvPr/>
        </p:nvSpPr>
        <p:spPr>
          <a:xfrm>
            <a:off x="4421123"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53" name="object 153"/>
          <p:cNvSpPr/>
          <p:nvPr/>
        </p:nvSpPr>
        <p:spPr>
          <a:xfrm>
            <a:off x="4421123"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54" name="object 154"/>
          <p:cNvSpPr/>
          <p:nvPr/>
        </p:nvSpPr>
        <p:spPr>
          <a:xfrm>
            <a:off x="4421123"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55" name="object 155"/>
          <p:cNvSpPr/>
          <p:nvPr/>
        </p:nvSpPr>
        <p:spPr>
          <a:xfrm>
            <a:off x="4421123"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56" name="object 156"/>
          <p:cNvSpPr/>
          <p:nvPr/>
        </p:nvSpPr>
        <p:spPr>
          <a:xfrm>
            <a:off x="4421123"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57" name="object 157"/>
          <p:cNvSpPr/>
          <p:nvPr/>
        </p:nvSpPr>
        <p:spPr>
          <a:xfrm>
            <a:off x="4421123"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58" name="object 158"/>
          <p:cNvSpPr/>
          <p:nvPr/>
        </p:nvSpPr>
        <p:spPr>
          <a:xfrm>
            <a:off x="4421123"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59" name="object 159"/>
          <p:cNvSpPr/>
          <p:nvPr/>
        </p:nvSpPr>
        <p:spPr>
          <a:xfrm>
            <a:off x="4333565"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0" name="object 160"/>
          <p:cNvSpPr/>
          <p:nvPr/>
        </p:nvSpPr>
        <p:spPr>
          <a:xfrm>
            <a:off x="4333565"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61" name="object 161"/>
          <p:cNvSpPr/>
          <p:nvPr/>
        </p:nvSpPr>
        <p:spPr>
          <a:xfrm>
            <a:off x="4738115"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62" name="object 162"/>
          <p:cNvSpPr/>
          <p:nvPr/>
        </p:nvSpPr>
        <p:spPr>
          <a:xfrm>
            <a:off x="4738115"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3" name="object 163"/>
          <p:cNvSpPr/>
          <p:nvPr/>
        </p:nvSpPr>
        <p:spPr>
          <a:xfrm>
            <a:off x="4738115"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4" name="object 164"/>
          <p:cNvSpPr/>
          <p:nvPr/>
        </p:nvSpPr>
        <p:spPr>
          <a:xfrm>
            <a:off x="4738115"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65" name="object 165"/>
          <p:cNvSpPr/>
          <p:nvPr/>
        </p:nvSpPr>
        <p:spPr>
          <a:xfrm>
            <a:off x="4738115"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66" name="object 166"/>
          <p:cNvSpPr/>
          <p:nvPr/>
        </p:nvSpPr>
        <p:spPr>
          <a:xfrm>
            <a:off x="4738115"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7" name="object 167"/>
          <p:cNvSpPr/>
          <p:nvPr/>
        </p:nvSpPr>
        <p:spPr>
          <a:xfrm>
            <a:off x="4738115"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8" name="object 168"/>
          <p:cNvSpPr/>
          <p:nvPr/>
        </p:nvSpPr>
        <p:spPr>
          <a:xfrm>
            <a:off x="4650557"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69" name="object 169"/>
          <p:cNvSpPr/>
          <p:nvPr/>
        </p:nvSpPr>
        <p:spPr>
          <a:xfrm>
            <a:off x="4650557"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0" name="object 170"/>
          <p:cNvSpPr/>
          <p:nvPr/>
        </p:nvSpPr>
        <p:spPr>
          <a:xfrm>
            <a:off x="4650557" y="1955238"/>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1" name="object 171"/>
          <p:cNvSpPr/>
          <p:nvPr/>
        </p:nvSpPr>
        <p:spPr>
          <a:xfrm>
            <a:off x="4650557" y="221736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2" name="object 172"/>
          <p:cNvSpPr/>
          <p:nvPr/>
        </p:nvSpPr>
        <p:spPr>
          <a:xfrm>
            <a:off x="4650557" y="247492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183786"/>
          </a:solidFill>
        </p:spPr>
        <p:txBody>
          <a:bodyPr wrap="square" lIns="0" tIns="0" rIns="0" bIns="0" rtlCol="0"/>
          <a:lstStyle/>
          <a:p>
            <a:endParaRPr/>
          </a:p>
        </p:txBody>
      </p:sp>
      <p:sp>
        <p:nvSpPr>
          <p:cNvPr id="173" name="object 173"/>
          <p:cNvSpPr/>
          <p:nvPr/>
        </p:nvSpPr>
        <p:spPr>
          <a:xfrm>
            <a:off x="5053584"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4" name="object 174"/>
          <p:cNvSpPr/>
          <p:nvPr/>
        </p:nvSpPr>
        <p:spPr>
          <a:xfrm>
            <a:off x="5053584"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75" name="object 175"/>
          <p:cNvSpPr/>
          <p:nvPr/>
        </p:nvSpPr>
        <p:spPr>
          <a:xfrm>
            <a:off x="5053584"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76" name="object 176"/>
          <p:cNvSpPr/>
          <p:nvPr/>
        </p:nvSpPr>
        <p:spPr>
          <a:xfrm>
            <a:off x="5053584"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7" name="object 177"/>
          <p:cNvSpPr/>
          <p:nvPr/>
        </p:nvSpPr>
        <p:spPr>
          <a:xfrm>
            <a:off x="5053584"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78" name="object 178"/>
          <p:cNvSpPr/>
          <p:nvPr/>
        </p:nvSpPr>
        <p:spPr>
          <a:xfrm>
            <a:off x="5053584"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79" name="object 179"/>
          <p:cNvSpPr/>
          <p:nvPr/>
        </p:nvSpPr>
        <p:spPr>
          <a:xfrm>
            <a:off x="5053584"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0" name="object 180"/>
          <p:cNvSpPr/>
          <p:nvPr/>
        </p:nvSpPr>
        <p:spPr>
          <a:xfrm>
            <a:off x="4966026"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1" name="object 181"/>
          <p:cNvSpPr/>
          <p:nvPr/>
        </p:nvSpPr>
        <p:spPr>
          <a:xfrm>
            <a:off x="4966026"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82" name="object 182"/>
          <p:cNvSpPr/>
          <p:nvPr/>
        </p:nvSpPr>
        <p:spPr>
          <a:xfrm>
            <a:off x="5369052" y="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83" name="object 183"/>
          <p:cNvSpPr/>
          <p:nvPr/>
        </p:nvSpPr>
        <p:spPr>
          <a:xfrm>
            <a:off x="5369052" y="262127"/>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4" name="object 184"/>
          <p:cNvSpPr/>
          <p:nvPr/>
        </p:nvSpPr>
        <p:spPr>
          <a:xfrm>
            <a:off x="5369052" y="521208"/>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5" name="object 185"/>
          <p:cNvSpPr/>
          <p:nvPr/>
        </p:nvSpPr>
        <p:spPr>
          <a:xfrm>
            <a:off x="5369052" y="784859"/>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86" name="object 186"/>
          <p:cNvSpPr/>
          <p:nvPr/>
        </p:nvSpPr>
        <p:spPr>
          <a:xfrm>
            <a:off x="5369052" y="1045463"/>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87" name="object 187"/>
          <p:cNvSpPr/>
          <p:nvPr/>
        </p:nvSpPr>
        <p:spPr>
          <a:xfrm>
            <a:off x="5369052" y="1304544"/>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8" name="object 188"/>
          <p:cNvSpPr/>
          <p:nvPr/>
        </p:nvSpPr>
        <p:spPr>
          <a:xfrm>
            <a:off x="5369052" y="1566672"/>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89" name="object 189"/>
          <p:cNvSpPr/>
          <p:nvPr/>
        </p:nvSpPr>
        <p:spPr>
          <a:xfrm>
            <a:off x="5137713" y="1287587"/>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90" name="object 190"/>
          <p:cNvSpPr/>
          <p:nvPr/>
        </p:nvSpPr>
        <p:spPr>
          <a:xfrm>
            <a:off x="5281494" y="169311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1" name="object 191"/>
          <p:cNvSpPr/>
          <p:nvPr/>
        </p:nvSpPr>
        <p:spPr>
          <a:xfrm>
            <a:off x="5281494" y="1955238"/>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2" name="object 192"/>
          <p:cNvSpPr/>
          <p:nvPr/>
        </p:nvSpPr>
        <p:spPr>
          <a:xfrm>
            <a:off x="5686044" y="0"/>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3" name="object 193"/>
          <p:cNvSpPr/>
          <p:nvPr/>
        </p:nvSpPr>
        <p:spPr>
          <a:xfrm>
            <a:off x="5686044" y="262127"/>
            <a:ext cx="187960" cy="192405"/>
          </a:xfrm>
          <a:custGeom>
            <a:avLst/>
            <a:gdLst/>
            <a:ahLst/>
            <a:cxnLst/>
            <a:rect l="l" t="t" r="r" b="b"/>
            <a:pathLst>
              <a:path w="187960"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94" name="object 194"/>
          <p:cNvSpPr/>
          <p:nvPr/>
        </p:nvSpPr>
        <p:spPr>
          <a:xfrm>
            <a:off x="5686044" y="521208"/>
            <a:ext cx="187960" cy="192405"/>
          </a:xfrm>
          <a:custGeom>
            <a:avLst/>
            <a:gdLst/>
            <a:ahLst/>
            <a:cxnLst/>
            <a:rect l="l" t="t" r="r" b="b"/>
            <a:pathLst>
              <a:path w="187960"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95" name="object 195"/>
          <p:cNvSpPr/>
          <p:nvPr/>
        </p:nvSpPr>
        <p:spPr>
          <a:xfrm>
            <a:off x="5686044" y="784859"/>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6" name="object 196"/>
          <p:cNvSpPr/>
          <p:nvPr/>
        </p:nvSpPr>
        <p:spPr>
          <a:xfrm>
            <a:off x="5686044" y="1045463"/>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197" name="object 197"/>
          <p:cNvSpPr/>
          <p:nvPr/>
        </p:nvSpPr>
        <p:spPr>
          <a:xfrm>
            <a:off x="5686044" y="1304544"/>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98" name="object 198"/>
          <p:cNvSpPr/>
          <p:nvPr/>
        </p:nvSpPr>
        <p:spPr>
          <a:xfrm>
            <a:off x="5686044" y="1566672"/>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199" name="object 199"/>
          <p:cNvSpPr/>
          <p:nvPr/>
        </p:nvSpPr>
        <p:spPr>
          <a:xfrm>
            <a:off x="5598486" y="1432506"/>
            <a:ext cx="187960" cy="192405"/>
          </a:xfrm>
          <a:custGeom>
            <a:avLst/>
            <a:gdLst/>
            <a:ahLst/>
            <a:cxnLst/>
            <a:rect l="l" t="t" r="r" b="b"/>
            <a:pathLst>
              <a:path w="187960"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00" name="object 200"/>
          <p:cNvSpPr/>
          <p:nvPr/>
        </p:nvSpPr>
        <p:spPr>
          <a:xfrm>
            <a:off x="5598486" y="1693110"/>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1" name="object 201"/>
          <p:cNvSpPr/>
          <p:nvPr/>
        </p:nvSpPr>
        <p:spPr>
          <a:xfrm>
            <a:off x="5598486" y="1955238"/>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2" name="object 202"/>
          <p:cNvSpPr/>
          <p:nvPr/>
        </p:nvSpPr>
        <p:spPr>
          <a:xfrm>
            <a:off x="5598486" y="2217366"/>
            <a:ext cx="187960" cy="190500"/>
          </a:xfrm>
          <a:custGeom>
            <a:avLst/>
            <a:gdLst/>
            <a:ahLst/>
            <a:cxnLst/>
            <a:rect l="l" t="t" r="r" b="b"/>
            <a:pathLst>
              <a:path w="187960"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3" name="object 203"/>
          <p:cNvSpPr/>
          <p:nvPr/>
        </p:nvSpPr>
        <p:spPr>
          <a:xfrm>
            <a:off x="6001511"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4" name="object 204"/>
          <p:cNvSpPr/>
          <p:nvPr/>
        </p:nvSpPr>
        <p:spPr>
          <a:xfrm>
            <a:off x="6001511"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05" name="object 205"/>
          <p:cNvSpPr/>
          <p:nvPr/>
        </p:nvSpPr>
        <p:spPr>
          <a:xfrm>
            <a:off x="6001511"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06" name="object 206"/>
          <p:cNvSpPr/>
          <p:nvPr/>
        </p:nvSpPr>
        <p:spPr>
          <a:xfrm>
            <a:off x="6001511"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7" name="object 207"/>
          <p:cNvSpPr/>
          <p:nvPr/>
        </p:nvSpPr>
        <p:spPr>
          <a:xfrm>
            <a:off x="6001511"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08" name="object 208"/>
          <p:cNvSpPr/>
          <p:nvPr/>
        </p:nvSpPr>
        <p:spPr>
          <a:xfrm>
            <a:off x="6001511"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09" name="object 209"/>
          <p:cNvSpPr/>
          <p:nvPr/>
        </p:nvSpPr>
        <p:spPr>
          <a:xfrm>
            <a:off x="6001511"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0" name="object 210"/>
          <p:cNvSpPr/>
          <p:nvPr/>
        </p:nvSpPr>
        <p:spPr>
          <a:xfrm>
            <a:off x="5913953"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1" name="object 211"/>
          <p:cNvSpPr/>
          <p:nvPr/>
        </p:nvSpPr>
        <p:spPr>
          <a:xfrm>
            <a:off x="5913953"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12" name="object 212"/>
          <p:cNvSpPr/>
          <p:nvPr/>
        </p:nvSpPr>
        <p:spPr>
          <a:xfrm>
            <a:off x="6318503"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13" name="object 213"/>
          <p:cNvSpPr/>
          <p:nvPr/>
        </p:nvSpPr>
        <p:spPr>
          <a:xfrm>
            <a:off x="6318503"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4" name="object 214"/>
          <p:cNvSpPr/>
          <p:nvPr/>
        </p:nvSpPr>
        <p:spPr>
          <a:xfrm>
            <a:off x="6318503"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5" name="object 215"/>
          <p:cNvSpPr/>
          <p:nvPr/>
        </p:nvSpPr>
        <p:spPr>
          <a:xfrm>
            <a:off x="6318503"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16" name="object 216"/>
          <p:cNvSpPr/>
          <p:nvPr/>
        </p:nvSpPr>
        <p:spPr>
          <a:xfrm>
            <a:off x="6318503"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17" name="object 217"/>
          <p:cNvSpPr/>
          <p:nvPr/>
        </p:nvSpPr>
        <p:spPr>
          <a:xfrm>
            <a:off x="6318503"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8" name="object 218"/>
          <p:cNvSpPr/>
          <p:nvPr/>
        </p:nvSpPr>
        <p:spPr>
          <a:xfrm>
            <a:off x="6318503"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19" name="object 219"/>
          <p:cNvSpPr/>
          <p:nvPr/>
        </p:nvSpPr>
        <p:spPr>
          <a:xfrm>
            <a:off x="6230945"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0" name="object 220"/>
          <p:cNvSpPr/>
          <p:nvPr/>
        </p:nvSpPr>
        <p:spPr>
          <a:xfrm>
            <a:off x="6230945" y="169311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21" name="object 221"/>
          <p:cNvSpPr/>
          <p:nvPr/>
        </p:nvSpPr>
        <p:spPr>
          <a:xfrm>
            <a:off x="6630923" y="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22" name="object 222"/>
          <p:cNvSpPr/>
          <p:nvPr/>
        </p:nvSpPr>
        <p:spPr>
          <a:xfrm>
            <a:off x="6630923" y="262127"/>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3" name="object 223"/>
          <p:cNvSpPr/>
          <p:nvPr/>
        </p:nvSpPr>
        <p:spPr>
          <a:xfrm>
            <a:off x="6630923" y="521208"/>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4" name="object 224"/>
          <p:cNvSpPr/>
          <p:nvPr/>
        </p:nvSpPr>
        <p:spPr>
          <a:xfrm>
            <a:off x="6630923" y="784859"/>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25" name="object 225"/>
          <p:cNvSpPr/>
          <p:nvPr/>
        </p:nvSpPr>
        <p:spPr>
          <a:xfrm>
            <a:off x="6630923" y="1045463"/>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26" name="object 226"/>
          <p:cNvSpPr/>
          <p:nvPr/>
        </p:nvSpPr>
        <p:spPr>
          <a:xfrm>
            <a:off x="6630923" y="1304544"/>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7" name="object 227"/>
          <p:cNvSpPr/>
          <p:nvPr/>
        </p:nvSpPr>
        <p:spPr>
          <a:xfrm>
            <a:off x="6630923" y="1566672"/>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8" name="object 228"/>
          <p:cNvSpPr/>
          <p:nvPr/>
        </p:nvSpPr>
        <p:spPr>
          <a:xfrm>
            <a:off x="6543365" y="1432506"/>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29" name="object 229"/>
          <p:cNvSpPr/>
          <p:nvPr/>
        </p:nvSpPr>
        <p:spPr>
          <a:xfrm>
            <a:off x="6543365" y="169311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0" name="object 230"/>
          <p:cNvSpPr/>
          <p:nvPr/>
        </p:nvSpPr>
        <p:spPr>
          <a:xfrm>
            <a:off x="6543365" y="1955238"/>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1" name="object 231"/>
          <p:cNvSpPr/>
          <p:nvPr/>
        </p:nvSpPr>
        <p:spPr>
          <a:xfrm>
            <a:off x="6543365" y="2217366"/>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2" name="object 232"/>
          <p:cNvSpPr/>
          <p:nvPr/>
        </p:nvSpPr>
        <p:spPr>
          <a:xfrm>
            <a:off x="6947916"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3" name="object 233"/>
          <p:cNvSpPr/>
          <p:nvPr/>
        </p:nvSpPr>
        <p:spPr>
          <a:xfrm>
            <a:off x="6947916"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34" name="object 234"/>
          <p:cNvSpPr/>
          <p:nvPr/>
        </p:nvSpPr>
        <p:spPr>
          <a:xfrm>
            <a:off x="6947916"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35" name="object 235"/>
          <p:cNvSpPr/>
          <p:nvPr/>
        </p:nvSpPr>
        <p:spPr>
          <a:xfrm>
            <a:off x="6947916"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6" name="object 236"/>
          <p:cNvSpPr/>
          <p:nvPr/>
        </p:nvSpPr>
        <p:spPr>
          <a:xfrm>
            <a:off x="6947916"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37" name="object 237"/>
          <p:cNvSpPr/>
          <p:nvPr/>
        </p:nvSpPr>
        <p:spPr>
          <a:xfrm>
            <a:off x="6947916"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38" name="object 238"/>
          <p:cNvSpPr/>
          <p:nvPr/>
        </p:nvSpPr>
        <p:spPr>
          <a:xfrm>
            <a:off x="6947916"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39" name="object 239"/>
          <p:cNvSpPr/>
          <p:nvPr/>
        </p:nvSpPr>
        <p:spPr>
          <a:xfrm>
            <a:off x="6860358"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1" name="object 241"/>
          <p:cNvSpPr/>
          <p:nvPr/>
        </p:nvSpPr>
        <p:spPr>
          <a:xfrm>
            <a:off x="7263383"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42" name="object 242"/>
          <p:cNvSpPr/>
          <p:nvPr/>
        </p:nvSpPr>
        <p:spPr>
          <a:xfrm>
            <a:off x="7263383"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3" name="object 243"/>
          <p:cNvSpPr/>
          <p:nvPr/>
        </p:nvSpPr>
        <p:spPr>
          <a:xfrm>
            <a:off x="7263383"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4" name="object 244"/>
          <p:cNvSpPr/>
          <p:nvPr/>
        </p:nvSpPr>
        <p:spPr>
          <a:xfrm>
            <a:off x="7263383"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45" name="object 245"/>
          <p:cNvSpPr/>
          <p:nvPr/>
        </p:nvSpPr>
        <p:spPr>
          <a:xfrm>
            <a:off x="7263383"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46" name="object 246"/>
          <p:cNvSpPr/>
          <p:nvPr/>
        </p:nvSpPr>
        <p:spPr>
          <a:xfrm>
            <a:off x="7263383"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7" name="object 247"/>
          <p:cNvSpPr/>
          <p:nvPr/>
        </p:nvSpPr>
        <p:spPr>
          <a:xfrm>
            <a:off x="7263383"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48" name="object 248"/>
          <p:cNvSpPr/>
          <p:nvPr/>
        </p:nvSpPr>
        <p:spPr>
          <a:xfrm>
            <a:off x="7175825" y="143250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0" name="object 250"/>
          <p:cNvSpPr/>
          <p:nvPr/>
        </p:nvSpPr>
        <p:spPr>
          <a:xfrm>
            <a:off x="7580376"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51" name="object 251"/>
          <p:cNvSpPr/>
          <p:nvPr/>
        </p:nvSpPr>
        <p:spPr>
          <a:xfrm>
            <a:off x="7580376"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2" name="object 252"/>
          <p:cNvSpPr/>
          <p:nvPr/>
        </p:nvSpPr>
        <p:spPr>
          <a:xfrm>
            <a:off x="7580376"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3" name="object 253"/>
          <p:cNvSpPr/>
          <p:nvPr/>
        </p:nvSpPr>
        <p:spPr>
          <a:xfrm>
            <a:off x="7580376"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54" name="object 254"/>
          <p:cNvSpPr/>
          <p:nvPr/>
        </p:nvSpPr>
        <p:spPr>
          <a:xfrm>
            <a:off x="7580376"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55" name="object 255"/>
          <p:cNvSpPr/>
          <p:nvPr/>
        </p:nvSpPr>
        <p:spPr>
          <a:xfrm>
            <a:off x="7580376"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6" name="object 256"/>
          <p:cNvSpPr/>
          <p:nvPr/>
        </p:nvSpPr>
        <p:spPr>
          <a:xfrm>
            <a:off x="7580376"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7" name="object 257"/>
          <p:cNvSpPr/>
          <p:nvPr/>
        </p:nvSpPr>
        <p:spPr>
          <a:xfrm>
            <a:off x="7580376"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58" name="object 258"/>
          <p:cNvSpPr/>
          <p:nvPr/>
        </p:nvSpPr>
        <p:spPr>
          <a:xfrm>
            <a:off x="7580376" y="2089404"/>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59" name="object 259"/>
          <p:cNvSpPr/>
          <p:nvPr/>
        </p:nvSpPr>
        <p:spPr>
          <a:xfrm>
            <a:off x="7580376" y="2351532"/>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60" name="object 260"/>
          <p:cNvSpPr/>
          <p:nvPr/>
        </p:nvSpPr>
        <p:spPr>
          <a:xfrm>
            <a:off x="7580376" y="261366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61" name="object 261"/>
          <p:cNvSpPr/>
          <p:nvPr/>
        </p:nvSpPr>
        <p:spPr>
          <a:xfrm>
            <a:off x="7580376" y="287121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2" name="object 262"/>
          <p:cNvSpPr/>
          <p:nvPr/>
        </p:nvSpPr>
        <p:spPr>
          <a:xfrm>
            <a:off x="7897368" y="0"/>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63" name="object 263"/>
          <p:cNvSpPr/>
          <p:nvPr/>
        </p:nvSpPr>
        <p:spPr>
          <a:xfrm>
            <a:off x="7897368" y="262127"/>
            <a:ext cx="187960" cy="192405"/>
          </a:xfrm>
          <a:custGeom>
            <a:avLst/>
            <a:gdLst/>
            <a:ahLst/>
            <a:cxnLst/>
            <a:rect l="l" t="t" r="r" b="b"/>
            <a:pathLst>
              <a:path w="187959"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4" name="object 264"/>
          <p:cNvSpPr/>
          <p:nvPr/>
        </p:nvSpPr>
        <p:spPr>
          <a:xfrm>
            <a:off x="7897368" y="521208"/>
            <a:ext cx="187960" cy="192405"/>
          </a:xfrm>
          <a:custGeom>
            <a:avLst/>
            <a:gdLst/>
            <a:ahLst/>
            <a:cxnLst/>
            <a:rect l="l" t="t" r="r" b="b"/>
            <a:pathLst>
              <a:path w="187959" h="192404">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5" name="object 265"/>
          <p:cNvSpPr/>
          <p:nvPr/>
        </p:nvSpPr>
        <p:spPr>
          <a:xfrm>
            <a:off x="7897368" y="784859"/>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66" name="object 266"/>
          <p:cNvSpPr/>
          <p:nvPr/>
        </p:nvSpPr>
        <p:spPr>
          <a:xfrm>
            <a:off x="7897368" y="1045463"/>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67" name="object 267"/>
          <p:cNvSpPr/>
          <p:nvPr/>
        </p:nvSpPr>
        <p:spPr>
          <a:xfrm>
            <a:off x="7897368" y="1304544"/>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8" name="object 268"/>
          <p:cNvSpPr/>
          <p:nvPr/>
        </p:nvSpPr>
        <p:spPr>
          <a:xfrm>
            <a:off x="7897368" y="1566672"/>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69" name="object 269"/>
          <p:cNvSpPr/>
          <p:nvPr/>
        </p:nvSpPr>
        <p:spPr>
          <a:xfrm>
            <a:off x="7897368" y="1828800"/>
            <a:ext cx="187960" cy="192405"/>
          </a:xfrm>
          <a:custGeom>
            <a:avLst/>
            <a:gdLst/>
            <a:ahLst/>
            <a:cxnLst/>
            <a:rect l="l" t="t" r="r" b="b"/>
            <a:pathLst>
              <a:path w="187959" h="192405">
                <a:moveTo>
                  <a:pt x="0" y="192024"/>
                </a:moveTo>
                <a:lnTo>
                  <a:pt x="187451" y="192024"/>
                </a:lnTo>
                <a:lnTo>
                  <a:pt x="187451"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70" name="object 270"/>
          <p:cNvSpPr/>
          <p:nvPr/>
        </p:nvSpPr>
        <p:spPr>
          <a:xfrm>
            <a:off x="7900125" y="2147257"/>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1" name="object 271"/>
          <p:cNvSpPr/>
          <p:nvPr/>
        </p:nvSpPr>
        <p:spPr>
          <a:xfrm>
            <a:off x="7897368" y="2351532"/>
            <a:ext cx="187960" cy="190500"/>
          </a:xfrm>
          <a:custGeom>
            <a:avLst/>
            <a:gdLst/>
            <a:ahLst/>
            <a:cxnLst/>
            <a:rect l="l" t="t" r="r" b="b"/>
            <a:pathLst>
              <a:path w="187959" h="190500">
                <a:moveTo>
                  <a:pt x="0" y="190500"/>
                </a:moveTo>
                <a:lnTo>
                  <a:pt x="187451" y="190500"/>
                </a:lnTo>
                <a:lnTo>
                  <a:pt x="187451"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2" name="object 272"/>
          <p:cNvSpPr/>
          <p:nvPr/>
        </p:nvSpPr>
        <p:spPr>
          <a:xfrm>
            <a:off x="8211311" y="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3" name="object 273"/>
          <p:cNvSpPr/>
          <p:nvPr/>
        </p:nvSpPr>
        <p:spPr>
          <a:xfrm>
            <a:off x="8211311" y="262127"/>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74" name="object 274"/>
          <p:cNvSpPr/>
          <p:nvPr/>
        </p:nvSpPr>
        <p:spPr>
          <a:xfrm>
            <a:off x="8211311" y="521208"/>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75" name="object 275"/>
          <p:cNvSpPr/>
          <p:nvPr/>
        </p:nvSpPr>
        <p:spPr>
          <a:xfrm>
            <a:off x="8211311" y="784859"/>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6" name="object 276"/>
          <p:cNvSpPr/>
          <p:nvPr/>
        </p:nvSpPr>
        <p:spPr>
          <a:xfrm>
            <a:off x="8211311" y="1045463"/>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77" name="object 277"/>
          <p:cNvSpPr/>
          <p:nvPr/>
        </p:nvSpPr>
        <p:spPr>
          <a:xfrm>
            <a:off x="8211311" y="1304544"/>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79" name="object 279"/>
          <p:cNvSpPr/>
          <p:nvPr/>
        </p:nvSpPr>
        <p:spPr>
          <a:xfrm>
            <a:off x="8211311" y="1828800"/>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0" name="object 280"/>
          <p:cNvSpPr/>
          <p:nvPr/>
        </p:nvSpPr>
        <p:spPr>
          <a:xfrm>
            <a:off x="8528304"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81" name="object 281"/>
          <p:cNvSpPr/>
          <p:nvPr/>
        </p:nvSpPr>
        <p:spPr>
          <a:xfrm>
            <a:off x="8528304"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2" name="object 282"/>
          <p:cNvSpPr/>
          <p:nvPr/>
        </p:nvSpPr>
        <p:spPr>
          <a:xfrm>
            <a:off x="8528304"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3" name="object 283"/>
          <p:cNvSpPr/>
          <p:nvPr/>
        </p:nvSpPr>
        <p:spPr>
          <a:xfrm>
            <a:off x="8528304"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84" name="object 284"/>
          <p:cNvSpPr/>
          <p:nvPr/>
        </p:nvSpPr>
        <p:spPr>
          <a:xfrm>
            <a:off x="8528304"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85" name="object 285"/>
          <p:cNvSpPr/>
          <p:nvPr/>
        </p:nvSpPr>
        <p:spPr>
          <a:xfrm>
            <a:off x="8528304"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6" name="object 286"/>
          <p:cNvSpPr/>
          <p:nvPr/>
        </p:nvSpPr>
        <p:spPr>
          <a:xfrm>
            <a:off x="8528304"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7" name="object 287"/>
          <p:cNvSpPr/>
          <p:nvPr/>
        </p:nvSpPr>
        <p:spPr>
          <a:xfrm>
            <a:off x="8528304"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88" name="object 288"/>
          <p:cNvSpPr/>
          <p:nvPr/>
        </p:nvSpPr>
        <p:spPr>
          <a:xfrm>
            <a:off x="8528304" y="2089404"/>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89" name="object 289"/>
          <p:cNvSpPr/>
          <p:nvPr/>
        </p:nvSpPr>
        <p:spPr>
          <a:xfrm>
            <a:off x="8528304" y="2351532"/>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90" name="object 290"/>
          <p:cNvSpPr/>
          <p:nvPr/>
        </p:nvSpPr>
        <p:spPr>
          <a:xfrm>
            <a:off x="8842247"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91" name="object 291"/>
          <p:cNvSpPr/>
          <p:nvPr/>
        </p:nvSpPr>
        <p:spPr>
          <a:xfrm>
            <a:off x="8842247"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92" name="object 292"/>
          <p:cNvSpPr/>
          <p:nvPr/>
        </p:nvSpPr>
        <p:spPr>
          <a:xfrm>
            <a:off x="8842247"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93" name="object 293"/>
          <p:cNvSpPr/>
          <p:nvPr/>
        </p:nvSpPr>
        <p:spPr>
          <a:xfrm>
            <a:off x="8842247"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94" name="object 294"/>
          <p:cNvSpPr/>
          <p:nvPr/>
        </p:nvSpPr>
        <p:spPr>
          <a:xfrm>
            <a:off x="8842247"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295" name="object 295"/>
          <p:cNvSpPr/>
          <p:nvPr/>
        </p:nvSpPr>
        <p:spPr>
          <a:xfrm>
            <a:off x="8842247"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96" name="object 296"/>
          <p:cNvSpPr/>
          <p:nvPr/>
        </p:nvSpPr>
        <p:spPr>
          <a:xfrm>
            <a:off x="8842247"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299" name="object 299"/>
          <p:cNvSpPr/>
          <p:nvPr/>
        </p:nvSpPr>
        <p:spPr>
          <a:xfrm>
            <a:off x="8842247" y="2351532"/>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00" name="object 300"/>
          <p:cNvSpPr/>
          <p:nvPr/>
        </p:nvSpPr>
        <p:spPr>
          <a:xfrm>
            <a:off x="8842247" y="261366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01" name="object 301"/>
          <p:cNvSpPr/>
          <p:nvPr/>
        </p:nvSpPr>
        <p:spPr>
          <a:xfrm>
            <a:off x="8842247" y="287121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2" name="object 302"/>
          <p:cNvSpPr/>
          <p:nvPr/>
        </p:nvSpPr>
        <p:spPr>
          <a:xfrm>
            <a:off x="8842247" y="3133344"/>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3" name="object 303"/>
          <p:cNvSpPr/>
          <p:nvPr/>
        </p:nvSpPr>
        <p:spPr>
          <a:xfrm>
            <a:off x="9159240"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04" name="object 304"/>
          <p:cNvSpPr/>
          <p:nvPr/>
        </p:nvSpPr>
        <p:spPr>
          <a:xfrm>
            <a:off x="9159240"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5" name="object 305"/>
          <p:cNvSpPr/>
          <p:nvPr/>
        </p:nvSpPr>
        <p:spPr>
          <a:xfrm>
            <a:off x="9159240"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6" name="object 306"/>
          <p:cNvSpPr/>
          <p:nvPr/>
        </p:nvSpPr>
        <p:spPr>
          <a:xfrm>
            <a:off x="9159240"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07" name="object 307"/>
          <p:cNvSpPr/>
          <p:nvPr/>
        </p:nvSpPr>
        <p:spPr>
          <a:xfrm>
            <a:off x="9159240"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08" name="object 308"/>
          <p:cNvSpPr/>
          <p:nvPr/>
        </p:nvSpPr>
        <p:spPr>
          <a:xfrm>
            <a:off x="9159240"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09" name="object 309"/>
          <p:cNvSpPr/>
          <p:nvPr/>
        </p:nvSpPr>
        <p:spPr>
          <a:xfrm>
            <a:off x="9159240"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0" name="object 310"/>
          <p:cNvSpPr/>
          <p:nvPr/>
        </p:nvSpPr>
        <p:spPr>
          <a:xfrm>
            <a:off x="9159240"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1" name="object 311"/>
          <p:cNvSpPr/>
          <p:nvPr/>
        </p:nvSpPr>
        <p:spPr>
          <a:xfrm>
            <a:off x="9159240" y="2089404"/>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12" name="object 312"/>
          <p:cNvSpPr/>
          <p:nvPr/>
        </p:nvSpPr>
        <p:spPr>
          <a:xfrm>
            <a:off x="9159240" y="2351532"/>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13" name="object 313"/>
          <p:cNvSpPr/>
          <p:nvPr/>
        </p:nvSpPr>
        <p:spPr>
          <a:xfrm>
            <a:off x="9159240" y="261366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14" name="object 314"/>
          <p:cNvSpPr/>
          <p:nvPr/>
        </p:nvSpPr>
        <p:spPr>
          <a:xfrm>
            <a:off x="9159240" y="287121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5" name="object 315"/>
          <p:cNvSpPr/>
          <p:nvPr/>
        </p:nvSpPr>
        <p:spPr>
          <a:xfrm>
            <a:off x="9476231" y="0"/>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16" name="object 316"/>
          <p:cNvSpPr/>
          <p:nvPr/>
        </p:nvSpPr>
        <p:spPr>
          <a:xfrm>
            <a:off x="9476231" y="262127"/>
            <a:ext cx="189230" cy="192405"/>
          </a:xfrm>
          <a:custGeom>
            <a:avLst/>
            <a:gdLst/>
            <a:ahLst/>
            <a:cxnLst/>
            <a:rect l="l" t="t" r="r" b="b"/>
            <a:pathLst>
              <a:path w="189229" h="192404">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7" name="object 317"/>
          <p:cNvSpPr/>
          <p:nvPr/>
        </p:nvSpPr>
        <p:spPr>
          <a:xfrm>
            <a:off x="9476231" y="521208"/>
            <a:ext cx="189230" cy="192405"/>
          </a:xfrm>
          <a:custGeom>
            <a:avLst/>
            <a:gdLst/>
            <a:ahLst/>
            <a:cxnLst/>
            <a:rect l="l" t="t" r="r" b="b"/>
            <a:pathLst>
              <a:path w="189229" h="192404">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18" name="object 318"/>
          <p:cNvSpPr/>
          <p:nvPr/>
        </p:nvSpPr>
        <p:spPr>
          <a:xfrm>
            <a:off x="9476231" y="784859"/>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19" name="object 319"/>
          <p:cNvSpPr/>
          <p:nvPr/>
        </p:nvSpPr>
        <p:spPr>
          <a:xfrm>
            <a:off x="9476231" y="1045463"/>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0" name="object 320"/>
          <p:cNvSpPr/>
          <p:nvPr/>
        </p:nvSpPr>
        <p:spPr>
          <a:xfrm>
            <a:off x="9476231" y="1304544"/>
            <a:ext cx="189230" cy="192405"/>
          </a:xfrm>
          <a:custGeom>
            <a:avLst/>
            <a:gdLst/>
            <a:ahLst/>
            <a:cxnLst/>
            <a:rect l="l" t="t" r="r" b="b"/>
            <a:pathLst>
              <a:path w="189229" h="192405">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21" name="object 321"/>
          <p:cNvSpPr/>
          <p:nvPr/>
        </p:nvSpPr>
        <p:spPr>
          <a:xfrm>
            <a:off x="9476231" y="1566672"/>
            <a:ext cx="189230" cy="192405"/>
          </a:xfrm>
          <a:custGeom>
            <a:avLst/>
            <a:gdLst/>
            <a:ahLst/>
            <a:cxnLst/>
            <a:rect l="l" t="t" r="r" b="b"/>
            <a:pathLst>
              <a:path w="189229" h="192405">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22" name="object 322"/>
          <p:cNvSpPr/>
          <p:nvPr/>
        </p:nvSpPr>
        <p:spPr>
          <a:xfrm>
            <a:off x="9476231" y="1828800"/>
            <a:ext cx="189230" cy="192405"/>
          </a:xfrm>
          <a:custGeom>
            <a:avLst/>
            <a:gdLst/>
            <a:ahLst/>
            <a:cxnLst/>
            <a:rect l="l" t="t" r="r" b="b"/>
            <a:pathLst>
              <a:path w="189229" h="192405">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23" name="object 323"/>
          <p:cNvSpPr/>
          <p:nvPr/>
        </p:nvSpPr>
        <p:spPr>
          <a:xfrm>
            <a:off x="9476231" y="2089404"/>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4" name="object 324"/>
          <p:cNvSpPr/>
          <p:nvPr/>
        </p:nvSpPr>
        <p:spPr>
          <a:xfrm>
            <a:off x="9476231" y="2351532"/>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5" name="object 325"/>
          <p:cNvSpPr/>
          <p:nvPr/>
        </p:nvSpPr>
        <p:spPr>
          <a:xfrm>
            <a:off x="9476231" y="2613660"/>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6" name="object 326"/>
          <p:cNvSpPr/>
          <p:nvPr/>
        </p:nvSpPr>
        <p:spPr>
          <a:xfrm>
            <a:off x="9476231" y="2871216"/>
            <a:ext cx="189230" cy="192405"/>
          </a:xfrm>
          <a:custGeom>
            <a:avLst/>
            <a:gdLst/>
            <a:ahLst/>
            <a:cxnLst/>
            <a:rect l="l" t="t" r="r" b="b"/>
            <a:pathLst>
              <a:path w="189229" h="192405">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27" name="object 327"/>
          <p:cNvSpPr/>
          <p:nvPr/>
        </p:nvSpPr>
        <p:spPr>
          <a:xfrm>
            <a:off x="9476231" y="3133344"/>
            <a:ext cx="189230" cy="192405"/>
          </a:xfrm>
          <a:custGeom>
            <a:avLst/>
            <a:gdLst/>
            <a:ahLst/>
            <a:cxnLst/>
            <a:rect l="l" t="t" r="r" b="b"/>
            <a:pathLst>
              <a:path w="189229" h="192404">
                <a:moveTo>
                  <a:pt x="0" y="192024"/>
                </a:moveTo>
                <a:lnTo>
                  <a:pt x="188975" y="192024"/>
                </a:lnTo>
                <a:lnTo>
                  <a:pt x="188975"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28" name="object 328"/>
          <p:cNvSpPr/>
          <p:nvPr/>
        </p:nvSpPr>
        <p:spPr>
          <a:xfrm>
            <a:off x="9476231" y="3396996"/>
            <a:ext cx="189230" cy="190500"/>
          </a:xfrm>
          <a:custGeom>
            <a:avLst/>
            <a:gdLst/>
            <a:ahLst/>
            <a:cxnLst/>
            <a:rect l="l" t="t" r="r" b="b"/>
            <a:pathLst>
              <a:path w="189229" h="190500">
                <a:moveTo>
                  <a:pt x="0" y="190500"/>
                </a:moveTo>
                <a:lnTo>
                  <a:pt x="188975" y="190500"/>
                </a:lnTo>
                <a:lnTo>
                  <a:pt x="188975"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29" name="object 329"/>
          <p:cNvSpPr/>
          <p:nvPr/>
        </p:nvSpPr>
        <p:spPr>
          <a:xfrm>
            <a:off x="9790176" y="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30" name="object 330"/>
          <p:cNvSpPr/>
          <p:nvPr/>
        </p:nvSpPr>
        <p:spPr>
          <a:xfrm>
            <a:off x="9790176" y="262127"/>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31" name="object 331"/>
          <p:cNvSpPr/>
          <p:nvPr/>
        </p:nvSpPr>
        <p:spPr>
          <a:xfrm>
            <a:off x="9790176" y="521208"/>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32" name="object 332"/>
          <p:cNvSpPr/>
          <p:nvPr/>
        </p:nvSpPr>
        <p:spPr>
          <a:xfrm>
            <a:off x="9790176" y="784859"/>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33" name="object 333"/>
          <p:cNvSpPr/>
          <p:nvPr/>
        </p:nvSpPr>
        <p:spPr>
          <a:xfrm>
            <a:off x="9790176" y="1045463"/>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34" name="object 334"/>
          <p:cNvSpPr/>
          <p:nvPr/>
        </p:nvSpPr>
        <p:spPr>
          <a:xfrm>
            <a:off x="9790176" y="1304544"/>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35" name="object 335"/>
          <p:cNvSpPr/>
          <p:nvPr/>
        </p:nvSpPr>
        <p:spPr>
          <a:xfrm>
            <a:off x="9790176" y="1566672"/>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36" name="object 336"/>
          <p:cNvSpPr/>
          <p:nvPr/>
        </p:nvSpPr>
        <p:spPr>
          <a:xfrm>
            <a:off x="9790176" y="1828800"/>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37" name="object 337"/>
          <p:cNvSpPr/>
          <p:nvPr/>
        </p:nvSpPr>
        <p:spPr>
          <a:xfrm>
            <a:off x="9790176" y="2089404"/>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39" name="object 339"/>
          <p:cNvSpPr/>
          <p:nvPr/>
        </p:nvSpPr>
        <p:spPr>
          <a:xfrm>
            <a:off x="10107168"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40" name="object 340"/>
          <p:cNvSpPr/>
          <p:nvPr/>
        </p:nvSpPr>
        <p:spPr>
          <a:xfrm>
            <a:off x="10107168"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41" name="object 341"/>
          <p:cNvSpPr/>
          <p:nvPr/>
        </p:nvSpPr>
        <p:spPr>
          <a:xfrm>
            <a:off x="10107168"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42" name="object 342"/>
          <p:cNvSpPr/>
          <p:nvPr/>
        </p:nvSpPr>
        <p:spPr>
          <a:xfrm>
            <a:off x="10107168"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43" name="object 343"/>
          <p:cNvSpPr/>
          <p:nvPr/>
        </p:nvSpPr>
        <p:spPr>
          <a:xfrm>
            <a:off x="10107168"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46" name="object 346"/>
          <p:cNvSpPr/>
          <p:nvPr/>
        </p:nvSpPr>
        <p:spPr>
          <a:xfrm>
            <a:off x="10107168"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47" name="object 347"/>
          <p:cNvSpPr/>
          <p:nvPr/>
        </p:nvSpPr>
        <p:spPr>
          <a:xfrm>
            <a:off x="10107168" y="2089404"/>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49" name="object 349"/>
          <p:cNvSpPr/>
          <p:nvPr/>
        </p:nvSpPr>
        <p:spPr>
          <a:xfrm>
            <a:off x="10107168" y="261366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50" name="object 350"/>
          <p:cNvSpPr/>
          <p:nvPr/>
        </p:nvSpPr>
        <p:spPr>
          <a:xfrm>
            <a:off x="10422635"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51" name="object 351"/>
          <p:cNvSpPr/>
          <p:nvPr/>
        </p:nvSpPr>
        <p:spPr>
          <a:xfrm>
            <a:off x="10422635"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52" name="object 352"/>
          <p:cNvSpPr/>
          <p:nvPr/>
        </p:nvSpPr>
        <p:spPr>
          <a:xfrm>
            <a:off x="10422635"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53" name="object 353"/>
          <p:cNvSpPr/>
          <p:nvPr/>
        </p:nvSpPr>
        <p:spPr>
          <a:xfrm>
            <a:off x="10422635"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54" name="object 354"/>
          <p:cNvSpPr/>
          <p:nvPr/>
        </p:nvSpPr>
        <p:spPr>
          <a:xfrm>
            <a:off x="10422635"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55" name="object 355"/>
          <p:cNvSpPr/>
          <p:nvPr/>
        </p:nvSpPr>
        <p:spPr>
          <a:xfrm>
            <a:off x="10422635"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57" name="object 357"/>
          <p:cNvSpPr/>
          <p:nvPr/>
        </p:nvSpPr>
        <p:spPr>
          <a:xfrm>
            <a:off x="10422635"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58" name="object 358"/>
          <p:cNvSpPr/>
          <p:nvPr/>
        </p:nvSpPr>
        <p:spPr>
          <a:xfrm>
            <a:off x="10422635" y="2089404"/>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0" name="object 360"/>
          <p:cNvSpPr/>
          <p:nvPr/>
        </p:nvSpPr>
        <p:spPr>
          <a:xfrm>
            <a:off x="10422635" y="261366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1" name="object 361"/>
          <p:cNvSpPr/>
          <p:nvPr/>
        </p:nvSpPr>
        <p:spPr>
          <a:xfrm>
            <a:off x="10422635" y="287121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62" name="object 362"/>
          <p:cNvSpPr/>
          <p:nvPr/>
        </p:nvSpPr>
        <p:spPr>
          <a:xfrm>
            <a:off x="10422635" y="3133344"/>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63" name="object 363"/>
          <p:cNvSpPr/>
          <p:nvPr/>
        </p:nvSpPr>
        <p:spPr>
          <a:xfrm>
            <a:off x="10422635" y="3396996"/>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4" name="object 364"/>
          <p:cNvSpPr/>
          <p:nvPr/>
        </p:nvSpPr>
        <p:spPr>
          <a:xfrm>
            <a:off x="10739628"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5" name="object 365"/>
          <p:cNvSpPr/>
          <p:nvPr/>
        </p:nvSpPr>
        <p:spPr>
          <a:xfrm>
            <a:off x="10739628"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66" name="object 366"/>
          <p:cNvSpPr/>
          <p:nvPr/>
        </p:nvSpPr>
        <p:spPr>
          <a:xfrm>
            <a:off x="10739628"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67" name="object 367"/>
          <p:cNvSpPr/>
          <p:nvPr/>
        </p:nvSpPr>
        <p:spPr>
          <a:xfrm>
            <a:off x="10739628"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8" name="object 368"/>
          <p:cNvSpPr/>
          <p:nvPr/>
        </p:nvSpPr>
        <p:spPr>
          <a:xfrm>
            <a:off x="10739628"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69" name="object 369"/>
          <p:cNvSpPr/>
          <p:nvPr/>
        </p:nvSpPr>
        <p:spPr>
          <a:xfrm>
            <a:off x="10739628"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0" name="object 370"/>
          <p:cNvSpPr/>
          <p:nvPr/>
        </p:nvSpPr>
        <p:spPr>
          <a:xfrm>
            <a:off x="10739628"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1" name="object 371"/>
          <p:cNvSpPr/>
          <p:nvPr/>
        </p:nvSpPr>
        <p:spPr>
          <a:xfrm>
            <a:off x="10739628" y="1828800"/>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5" name="object 375"/>
          <p:cNvSpPr/>
          <p:nvPr/>
        </p:nvSpPr>
        <p:spPr>
          <a:xfrm>
            <a:off x="10739628" y="287121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6" name="object 376"/>
          <p:cNvSpPr/>
          <p:nvPr/>
        </p:nvSpPr>
        <p:spPr>
          <a:xfrm>
            <a:off x="10739628" y="3133344"/>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7" name="object 377"/>
          <p:cNvSpPr/>
          <p:nvPr/>
        </p:nvSpPr>
        <p:spPr>
          <a:xfrm>
            <a:off x="11052047" y="0"/>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78" name="object 378"/>
          <p:cNvSpPr/>
          <p:nvPr/>
        </p:nvSpPr>
        <p:spPr>
          <a:xfrm>
            <a:off x="11052047" y="262127"/>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79" name="object 379"/>
          <p:cNvSpPr/>
          <p:nvPr/>
        </p:nvSpPr>
        <p:spPr>
          <a:xfrm>
            <a:off x="11052047" y="521208"/>
            <a:ext cx="192405" cy="192405"/>
          </a:xfrm>
          <a:custGeom>
            <a:avLst/>
            <a:gdLst/>
            <a:ahLst/>
            <a:cxnLst/>
            <a:rect l="l" t="t" r="r" b="b"/>
            <a:pathLst>
              <a:path w="192404" h="192404">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80" name="object 380"/>
          <p:cNvSpPr/>
          <p:nvPr/>
        </p:nvSpPr>
        <p:spPr>
          <a:xfrm>
            <a:off x="11052047" y="784859"/>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81" name="object 381"/>
          <p:cNvSpPr/>
          <p:nvPr/>
        </p:nvSpPr>
        <p:spPr>
          <a:xfrm>
            <a:off x="11052047" y="1045463"/>
            <a:ext cx="192405" cy="190500"/>
          </a:xfrm>
          <a:custGeom>
            <a:avLst/>
            <a:gdLst/>
            <a:ahLst/>
            <a:cxnLst/>
            <a:rect l="l" t="t" r="r" b="b"/>
            <a:pathLst>
              <a:path w="192404" h="190500">
                <a:moveTo>
                  <a:pt x="0" y="190500"/>
                </a:moveTo>
                <a:lnTo>
                  <a:pt x="192024" y="190500"/>
                </a:lnTo>
                <a:lnTo>
                  <a:pt x="192024"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82" name="object 382"/>
          <p:cNvSpPr/>
          <p:nvPr/>
        </p:nvSpPr>
        <p:spPr>
          <a:xfrm>
            <a:off x="11052047" y="1304544"/>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83" name="object 383"/>
          <p:cNvSpPr/>
          <p:nvPr/>
        </p:nvSpPr>
        <p:spPr>
          <a:xfrm>
            <a:off x="11052047" y="1566672"/>
            <a:ext cx="192405" cy="192405"/>
          </a:xfrm>
          <a:custGeom>
            <a:avLst/>
            <a:gdLst/>
            <a:ahLst/>
            <a:cxnLst/>
            <a:rect l="l" t="t" r="r" b="b"/>
            <a:pathLst>
              <a:path w="192404" h="192405">
                <a:moveTo>
                  <a:pt x="0" y="192024"/>
                </a:moveTo>
                <a:lnTo>
                  <a:pt x="192024" y="192024"/>
                </a:lnTo>
                <a:lnTo>
                  <a:pt x="192024"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84" name="object 384"/>
          <p:cNvSpPr/>
          <p:nvPr/>
        </p:nvSpPr>
        <p:spPr>
          <a:xfrm>
            <a:off x="11369040"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85" name="object 385"/>
          <p:cNvSpPr/>
          <p:nvPr/>
        </p:nvSpPr>
        <p:spPr>
          <a:xfrm>
            <a:off x="11369040"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86" name="object 386"/>
          <p:cNvSpPr/>
          <p:nvPr/>
        </p:nvSpPr>
        <p:spPr>
          <a:xfrm>
            <a:off x="11369040"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88" name="object 388"/>
          <p:cNvSpPr/>
          <p:nvPr/>
        </p:nvSpPr>
        <p:spPr>
          <a:xfrm>
            <a:off x="11369040"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91" name="object 391"/>
          <p:cNvSpPr/>
          <p:nvPr/>
        </p:nvSpPr>
        <p:spPr>
          <a:xfrm>
            <a:off x="11687556"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92" name="object 392"/>
          <p:cNvSpPr/>
          <p:nvPr/>
        </p:nvSpPr>
        <p:spPr>
          <a:xfrm>
            <a:off x="11687556"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93" name="object 393"/>
          <p:cNvSpPr/>
          <p:nvPr/>
        </p:nvSpPr>
        <p:spPr>
          <a:xfrm>
            <a:off x="11687556"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395" name="object 395"/>
          <p:cNvSpPr/>
          <p:nvPr/>
        </p:nvSpPr>
        <p:spPr>
          <a:xfrm>
            <a:off x="11687556"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399" name="object 399"/>
          <p:cNvSpPr/>
          <p:nvPr/>
        </p:nvSpPr>
        <p:spPr>
          <a:xfrm>
            <a:off x="12001500" y="0"/>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00" name="object 400"/>
          <p:cNvSpPr/>
          <p:nvPr/>
        </p:nvSpPr>
        <p:spPr>
          <a:xfrm>
            <a:off x="12001500" y="262127"/>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1" name="object 401"/>
          <p:cNvSpPr/>
          <p:nvPr/>
        </p:nvSpPr>
        <p:spPr>
          <a:xfrm>
            <a:off x="12001500" y="521208"/>
            <a:ext cx="190500" cy="192405"/>
          </a:xfrm>
          <a:custGeom>
            <a:avLst/>
            <a:gdLst/>
            <a:ahLst/>
            <a:cxnLst/>
            <a:rect l="l" t="t" r="r" b="b"/>
            <a:pathLst>
              <a:path w="190500" h="192404">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2" name="object 402"/>
          <p:cNvSpPr/>
          <p:nvPr/>
        </p:nvSpPr>
        <p:spPr>
          <a:xfrm>
            <a:off x="12001500" y="784859"/>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03" name="object 403"/>
          <p:cNvSpPr/>
          <p:nvPr/>
        </p:nvSpPr>
        <p:spPr>
          <a:xfrm>
            <a:off x="12001500" y="1045463"/>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04" name="object 404"/>
          <p:cNvSpPr/>
          <p:nvPr/>
        </p:nvSpPr>
        <p:spPr>
          <a:xfrm>
            <a:off x="12001500" y="1304544"/>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5" name="object 405"/>
          <p:cNvSpPr/>
          <p:nvPr/>
        </p:nvSpPr>
        <p:spPr>
          <a:xfrm>
            <a:off x="12001500" y="1566672"/>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6" name="object 406"/>
          <p:cNvSpPr/>
          <p:nvPr/>
        </p:nvSpPr>
        <p:spPr>
          <a:xfrm>
            <a:off x="11369040" y="524255"/>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07" name="object 407"/>
          <p:cNvSpPr/>
          <p:nvPr/>
        </p:nvSpPr>
        <p:spPr>
          <a:xfrm>
            <a:off x="11369040" y="78333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08" name="object 408"/>
          <p:cNvSpPr/>
          <p:nvPr/>
        </p:nvSpPr>
        <p:spPr>
          <a:xfrm>
            <a:off x="11687556" y="524255"/>
            <a:ext cx="190500" cy="190500"/>
          </a:xfrm>
          <a:custGeom>
            <a:avLst/>
            <a:gdLst/>
            <a:ahLst/>
            <a:cxnLst/>
            <a:rect l="l" t="t" r="r" b="b"/>
            <a:pathLst>
              <a:path w="190500" h="190500">
                <a:moveTo>
                  <a:pt x="0" y="190500"/>
                </a:moveTo>
                <a:lnTo>
                  <a:pt x="190500" y="190500"/>
                </a:lnTo>
                <a:lnTo>
                  <a:pt x="190500" y="0"/>
                </a:lnTo>
                <a:lnTo>
                  <a:pt x="0" y="0"/>
                </a:lnTo>
                <a:lnTo>
                  <a:pt x="0" y="190500"/>
                </a:lnTo>
                <a:close/>
              </a:path>
            </a:pathLst>
          </a:custGeom>
          <a:solidFill>
            <a:srgbClr val="FFFFFF">
              <a:alpha val="10195"/>
            </a:srgbClr>
          </a:solidFill>
        </p:spPr>
        <p:txBody>
          <a:bodyPr wrap="square" lIns="0" tIns="0" rIns="0" bIns="0" rtlCol="0"/>
          <a:lstStyle/>
          <a:p>
            <a:endParaRPr/>
          </a:p>
        </p:txBody>
      </p:sp>
      <p:sp>
        <p:nvSpPr>
          <p:cNvPr id="409" name="object 409"/>
          <p:cNvSpPr/>
          <p:nvPr/>
        </p:nvSpPr>
        <p:spPr>
          <a:xfrm>
            <a:off x="11687556" y="783336"/>
            <a:ext cx="190500" cy="192405"/>
          </a:xfrm>
          <a:custGeom>
            <a:avLst/>
            <a:gdLst/>
            <a:ahLst/>
            <a:cxnLst/>
            <a:rect l="l" t="t" r="r" b="b"/>
            <a:pathLst>
              <a:path w="190500" h="192405">
                <a:moveTo>
                  <a:pt x="0" y="192024"/>
                </a:moveTo>
                <a:lnTo>
                  <a:pt x="190500" y="192024"/>
                </a:lnTo>
                <a:lnTo>
                  <a:pt x="190500" y="0"/>
                </a:lnTo>
                <a:lnTo>
                  <a:pt x="0" y="0"/>
                </a:lnTo>
                <a:lnTo>
                  <a:pt x="0" y="192024"/>
                </a:lnTo>
                <a:close/>
              </a:path>
            </a:pathLst>
          </a:custGeom>
          <a:solidFill>
            <a:srgbClr val="FFFFFF">
              <a:alpha val="10195"/>
            </a:srgbClr>
          </a:solidFill>
        </p:spPr>
        <p:txBody>
          <a:bodyPr wrap="square" lIns="0" tIns="0" rIns="0" bIns="0" rtlCol="0"/>
          <a:lstStyle/>
          <a:p>
            <a:endParaRPr/>
          </a:p>
        </p:txBody>
      </p:sp>
      <p:sp>
        <p:nvSpPr>
          <p:cNvPr id="410" name="object 410"/>
          <p:cNvSpPr/>
          <p:nvPr/>
        </p:nvSpPr>
        <p:spPr>
          <a:xfrm>
            <a:off x="1506545" y="2481017"/>
            <a:ext cx="4604004" cy="2930652"/>
          </a:xfrm>
          <a:prstGeom prst="rect">
            <a:avLst/>
          </a:prstGeom>
          <a:blipFill>
            <a:blip r:embed="rId3" cstate="print"/>
            <a:stretch>
              <a:fillRect/>
            </a:stretch>
          </a:blipFill>
        </p:spPr>
        <p:txBody>
          <a:bodyPr wrap="square" lIns="0" tIns="0" rIns="0" bIns="0" rtlCol="0"/>
          <a:lstStyle/>
          <a:p>
            <a:endParaRPr/>
          </a:p>
        </p:txBody>
      </p:sp>
      <p:sp>
        <p:nvSpPr>
          <p:cNvPr id="411" name="object 411"/>
          <p:cNvSpPr/>
          <p:nvPr/>
        </p:nvSpPr>
        <p:spPr>
          <a:xfrm>
            <a:off x="665297" y="5841436"/>
            <a:ext cx="6254496" cy="620268"/>
          </a:xfrm>
          <a:prstGeom prst="rect">
            <a:avLst/>
          </a:prstGeom>
          <a:blipFill>
            <a:blip r:embed="rId4" cstate="print"/>
            <a:stretch>
              <a:fillRect/>
            </a:stretch>
          </a:blipFill>
        </p:spPr>
        <p:txBody>
          <a:bodyPr wrap="square" lIns="0" tIns="0" rIns="0" bIns="0" rtlCol="0"/>
          <a:lstStyle/>
          <a:p>
            <a:endParaRPr/>
          </a:p>
        </p:txBody>
      </p:sp>
      <p:sp>
        <p:nvSpPr>
          <p:cNvPr id="412" name="object 412"/>
          <p:cNvSpPr/>
          <p:nvPr/>
        </p:nvSpPr>
        <p:spPr>
          <a:xfrm>
            <a:off x="1293186" y="2319473"/>
            <a:ext cx="5000244" cy="3389376"/>
          </a:xfrm>
          <a:prstGeom prst="rect">
            <a:avLst/>
          </a:prstGeom>
          <a:blipFill>
            <a:blip r:embed="rId5" cstate="print"/>
            <a:stretch>
              <a:fillRect/>
            </a:stretch>
          </a:blipFill>
        </p:spPr>
        <p:txBody>
          <a:bodyPr wrap="square" lIns="0" tIns="0" rIns="0" bIns="0" rtlCol="0"/>
          <a:lstStyle/>
          <a:p>
            <a:endParaRPr/>
          </a:p>
        </p:txBody>
      </p:sp>
      <p:sp>
        <p:nvSpPr>
          <p:cNvPr id="413" name="object 413"/>
          <p:cNvSpPr/>
          <p:nvPr/>
        </p:nvSpPr>
        <p:spPr>
          <a:xfrm>
            <a:off x="6272094" y="5638746"/>
            <a:ext cx="43180" cy="79375"/>
          </a:xfrm>
          <a:custGeom>
            <a:avLst/>
            <a:gdLst/>
            <a:ahLst/>
            <a:cxnLst/>
            <a:rect l="l" t="t" r="r" b="b"/>
            <a:pathLst>
              <a:path w="43179" h="79375">
                <a:moveTo>
                  <a:pt x="42672" y="0"/>
                </a:moveTo>
                <a:lnTo>
                  <a:pt x="21336" y="42227"/>
                </a:lnTo>
                <a:lnTo>
                  <a:pt x="0" y="79248"/>
                </a:lnTo>
                <a:lnTo>
                  <a:pt x="42672" y="79248"/>
                </a:lnTo>
                <a:lnTo>
                  <a:pt x="42672" y="0"/>
                </a:lnTo>
                <a:close/>
              </a:path>
            </a:pathLst>
          </a:custGeom>
          <a:solidFill>
            <a:srgbClr val="A8A9AC"/>
          </a:solidFill>
        </p:spPr>
        <p:txBody>
          <a:bodyPr wrap="square" lIns="0" tIns="0" rIns="0" bIns="0" rtlCol="0"/>
          <a:lstStyle/>
          <a:p>
            <a:endParaRPr/>
          </a:p>
        </p:txBody>
      </p:sp>
      <p:sp>
        <p:nvSpPr>
          <p:cNvPr id="414" name="object 414"/>
          <p:cNvSpPr/>
          <p:nvPr/>
        </p:nvSpPr>
        <p:spPr>
          <a:xfrm>
            <a:off x="1271850" y="5638746"/>
            <a:ext cx="41275" cy="79375"/>
          </a:xfrm>
          <a:custGeom>
            <a:avLst/>
            <a:gdLst/>
            <a:ahLst/>
            <a:cxnLst/>
            <a:rect l="l" t="t" r="r" b="b"/>
            <a:pathLst>
              <a:path w="41275" h="79375">
                <a:moveTo>
                  <a:pt x="0" y="0"/>
                </a:moveTo>
                <a:lnTo>
                  <a:pt x="0" y="79248"/>
                </a:lnTo>
                <a:lnTo>
                  <a:pt x="41147" y="79248"/>
                </a:lnTo>
                <a:lnTo>
                  <a:pt x="22478" y="47675"/>
                </a:lnTo>
                <a:lnTo>
                  <a:pt x="0" y="0"/>
                </a:lnTo>
                <a:close/>
              </a:path>
            </a:pathLst>
          </a:custGeom>
          <a:solidFill>
            <a:srgbClr val="A8A9AC"/>
          </a:solidFill>
        </p:spPr>
        <p:txBody>
          <a:bodyPr wrap="square" lIns="0" tIns="0" rIns="0" bIns="0" rtlCol="0"/>
          <a:lstStyle/>
          <a:p>
            <a:endParaRPr/>
          </a:p>
        </p:txBody>
      </p:sp>
      <p:sp>
        <p:nvSpPr>
          <p:cNvPr id="415" name="object 415"/>
          <p:cNvSpPr/>
          <p:nvPr/>
        </p:nvSpPr>
        <p:spPr>
          <a:xfrm>
            <a:off x="1247466" y="2272229"/>
            <a:ext cx="5090160" cy="3569207"/>
          </a:xfrm>
          <a:prstGeom prst="rect">
            <a:avLst/>
          </a:prstGeom>
          <a:blipFill>
            <a:blip r:embed="rId6" cstate="print"/>
            <a:stretch>
              <a:fillRect/>
            </a:stretch>
          </a:blipFill>
        </p:spPr>
        <p:txBody>
          <a:bodyPr wrap="square" lIns="0" tIns="0" rIns="0" bIns="0" rtlCol="0"/>
          <a:lstStyle/>
          <a:p>
            <a:endParaRPr/>
          </a:p>
        </p:txBody>
      </p:sp>
      <p:sp>
        <p:nvSpPr>
          <p:cNvPr id="416" name="object 416"/>
          <p:cNvSpPr/>
          <p:nvPr/>
        </p:nvSpPr>
        <p:spPr>
          <a:xfrm>
            <a:off x="1262705" y="2287470"/>
            <a:ext cx="5058410" cy="3537585"/>
          </a:xfrm>
          <a:custGeom>
            <a:avLst/>
            <a:gdLst/>
            <a:ahLst/>
            <a:cxnLst/>
            <a:rect l="l" t="t" r="r" b="b"/>
            <a:pathLst>
              <a:path w="5058410" h="3537585">
                <a:moveTo>
                  <a:pt x="4886071" y="0"/>
                </a:moveTo>
                <a:lnTo>
                  <a:pt x="172085" y="0"/>
                </a:lnTo>
                <a:lnTo>
                  <a:pt x="126397" y="6167"/>
                </a:lnTo>
                <a:lnTo>
                  <a:pt x="85306" y="23560"/>
                </a:lnTo>
                <a:lnTo>
                  <a:pt x="50466" y="50514"/>
                </a:lnTo>
                <a:lnTo>
                  <a:pt x="23532" y="85362"/>
                </a:lnTo>
                <a:lnTo>
                  <a:pt x="6158" y="126441"/>
                </a:lnTo>
                <a:lnTo>
                  <a:pt x="0" y="172085"/>
                </a:lnTo>
                <a:lnTo>
                  <a:pt x="0" y="3365093"/>
                </a:lnTo>
                <a:lnTo>
                  <a:pt x="6158" y="3410765"/>
                </a:lnTo>
                <a:lnTo>
                  <a:pt x="23532" y="3451856"/>
                </a:lnTo>
                <a:lnTo>
                  <a:pt x="50466" y="3486705"/>
                </a:lnTo>
                <a:lnTo>
                  <a:pt x="85306" y="3513653"/>
                </a:lnTo>
                <a:lnTo>
                  <a:pt x="126397" y="3531039"/>
                </a:lnTo>
                <a:lnTo>
                  <a:pt x="172085" y="3537204"/>
                </a:lnTo>
                <a:lnTo>
                  <a:pt x="4886071" y="3537204"/>
                </a:lnTo>
                <a:lnTo>
                  <a:pt x="4931758" y="3531039"/>
                </a:lnTo>
                <a:lnTo>
                  <a:pt x="4932677" y="3530650"/>
                </a:lnTo>
                <a:lnTo>
                  <a:pt x="172085" y="3530650"/>
                </a:lnTo>
                <a:lnTo>
                  <a:pt x="128121" y="3524732"/>
                </a:lnTo>
                <a:lnTo>
                  <a:pt x="88598" y="3508034"/>
                </a:lnTo>
                <a:lnTo>
                  <a:pt x="55102" y="3482138"/>
                </a:lnTo>
                <a:lnTo>
                  <a:pt x="29214" y="3448627"/>
                </a:lnTo>
                <a:lnTo>
                  <a:pt x="12520" y="3409085"/>
                </a:lnTo>
                <a:lnTo>
                  <a:pt x="6604" y="3365093"/>
                </a:lnTo>
                <a:lnTo>
                  <a:pt x="6604" y="172085"/>
                </a:lnTo>
                <a:lnTo>
                  <a:pt x="12520" y="128121"/>
                </a:lnTo>
                <a:lnTo>
                  <a:pt x="29214" y="88598"/>
                </a:lnTo>
                <a:lnTo>
                  <a:pt x="55102" y="55102"/>
                </a:lnTo>
                <a:lnTo>
                  <a:pt x="88598" y="29214"/>
                </a:lnTo>
                <a:lnTo>
                  <a:pt x="128121" y="12520"/>
                </a:lnTo>
                <a:lnTo>
                  <a:pt x="172085" y="6603"/>
                </a:lnTo>
                <a:lnTo>
                  <a:pt x="4932789" y="6603"/>
                </a:lnTo>
                <a:lnTo>
                  <a:pt x="4931758" y="6167"/>
                </a:lnTo>
                <a:lnTo>
                  <a:pt x="4886071" y="0"/>
                </a:lnTo>
                <a:close/>
              </a:path>
              <a:path w="5058410" h="3537585">
                <a:moveTo>
                  <a:pt x="4932789" y="6603"/>
                </a:moveTo>
                <a:lnTo>
                  <a:pt x="4886071" y="6603"/>
                </a:lnTo>
                <a:lnTo>
                  <a:pt x="4930034" y="12520"/>
                </a:lnTo>
                <a:lnTo>
                  <a:pt x="4969557" y="29214"/>
                </a:lnTo>
                <a:lnTo>
                  <a:pt x="5003053" y="55102"/>
                </a:lnTo>
                <a:lnTo>
                  <a:pt x="5028941" y="88598"/>
                </a:lnTo>
                <a:lnTo>
                  <a:pt x="5045635" y="128121"/>
                </a:lnTo>
                <a:lnTo>
                  <a:pt x="5051552" y="172085"/>
                </a:lnTo>
                <a:lnTo>
                  <a:pt x="5051552" y="3365093"/>
                </a:lnTo>
                <a:lnTo>
                  <a:pt x="5045635" y="3409085"/>
                </a:lnTo>
                <a:lnTo>
                  <a:pt x="5028941" y="3448627"/>
                </a:lnTo>
                <a:lnTo>
                  <a:pt x="5003053" y="3482138"/>
                </a:lnTo>
                <a:lnTo>
                  <a:pt x="4969557" y="3508034"/>
                </a:lnTo>
                <a:lnTo>
                  <a:pt x="4930034" y="3524732"/>
                </a:lnTo>
                <a:lnTo>
                  <a:pt x="4886071" y="3530650"/>
                </a:lnTo>
                <a:lnTo>
                  <a:pt x="4932677" y="3530650"/>
                </a:lnTo>
                <a:lnTo>
                  <a:pt x="4972849" y="3513653"/>
                </a:lnTo>
                <a:lnTo>
                  <a:pt x="5007689" y="3486705"/>
                </a:lnTo>
                <a:lnTo>
                  <a:pt x="5034623" y="3451856"/>
                </a:lnTo>
                <a:lnTo>
                  <a:pt x="5051997" y="3410765"/>
                </a:lnTo>
                <a:lnTo>
                  <a:pt x="5058156" y="3365093"/>
                </a:lnTo>
                <a:lnTo>
                  <a:pt x="5058156" y="172085"/>
                </a:lnTo>
                <a:lnTo>
                  <a:pt x="5051997" y="126441"/>
                </a:lnTo>
                <a:lnTo>
                  <a:pt x="5034623" y="85362"/>
                </a:lnTo>
                <a:lnTo>
                  <a:pt x="5007689" y="50514"/>
                </a:lnTo>
                <a:lnTo>
                  <a:pt x="4972849" y="23560"/>
                </a:lnTo>
                <a:lnTo>
                  <a:pt x="4932789" y="6603"/>
                </a:lnTo>
                <a:close/>
              </a:path>
            </a:pathLst>
          </a:custGeom>
          <a:solidFill>
            <a:srgbClr val="FFFFFF">
              <a:alpha val="25097"/>
            </a:srgbClr>
          </a:solidFill>
        </p:spPr>
        <p:txBody>
          <a:bodyPr wrap="square" lIns="0" tIns="0" rIns="0" bIns="0" rtlCol="0"/>
          <a:lstStyle/>
          <a:p>
            <a:endParaRPr/>
          </a:p>
        </p:txBody>
      </p:sp>
      <p:sp>
        <p:nvSpPr>
          <p:cNvPr id="417" name="object 417"/>
          <p:cNvSpPr/>
          <p:nvPr/>
        </p:nvSpPr>
        <p:spPr>
          <a:xfrm>
            <a:off x="1293186" y="2319473"/>
            <a:ext cx="5000625" cy="3389629"/>
          </a:xfrm>
          <a:custGeom>
            <a:avLst/>
            <a:gdLst/>
            <a:ahLst/>
            <a:cxnLst/>
            <a:rect l="l" t="t" r="r" b="b"/>
            <a:pathLst>
              <a:path w="5000625" h="3389629">
                <a:moveTo>
                  <a:pt x="4857369" y="0"/>
                </a:moveTo>
                <a:lnTo>
                  <a:pt x="142875" y="0"/>
                </a:lnTo>
                <a:lnTo>
                  <a:pt x="97779" y="7286"/>
                </a:lnTo>
                <a:lnTo>
                  <a:pt x="58567" y="27570"/>
                </a:lnTo>
                <a:lnTo>
                  <a:pt x="27614" y="58485"/>
                </a:lnTo>
                <a:lnTo>
                  <a:pt x="7299" y="97666"/>
                </a:lnTo>
                <a:lnTo>
                  <a:pt x="0" y="142748"/>
                </a:lnTo>
                <a:lnTo>
                  <a:pt x="0" y="3324415"/>
                </a:lnTo>
                <a:lnTo>
                  <a:pt x="5123" y="3349722"/>
                </a:lnTo>
                <a:lnTo>
                  <a:pt x="19081" y="3370368"/>
                </a:lnTo>
                <a:lnTo>
                  <a:pt x="39754" y="3384278"/>
                </a:lnTo>
                <a:lnTo>
                  <a:pt x="65024" y="3389376"/>
                </a:lnTo>
                <a:lnTo>
                  <a:pt x="4935220" y="3389376"/>
                </a:lnTo>
                <a:lnTo>
                  <a:pt x="4960489" y="3384278"/>
                </a:lnTo>
                <a:lnTo>
                  <a:pt x="4962482" y="3382937"/>
                </a:lnTo>
                <a:lnTo>
                  <a:pt x="65024" y="3382937"/>
                </a:lnTo>
                <a:lnTo>
                  <a:pt x="42213" y="3378338"/>
                </a:lnTo>
                <a:lnTo>
                  <a:pt x="23606" y="3365796"/>
                </a:lnTo>
                <a:lnTo>
                  <a:pt x="11070" y="3347195"/>
                </a:lnTo>
                <a:lnTo>
                  <a:pt x="6477" y="3324415"/>
                </a:lnTo>
                <a:lnTo>
                  <a:pt x="6477" y="142748"/>
                </a:lnTo>
                <a:lnTo>
                  <a:pt x="13432" y="99753"/>
                </a:lnTo>
                <a:lnTo>
                  <a:pt x="32799" y="62355"/>
                </a:lnTo>
                <a:lnTo>
                  <a:pt x="62328" y="32827"/>
                </a:lnTo>
                <a:lnTo>
                  <a:pt x="99770" y="13443"/>
                </a:lnTo>
                <a:lnTo>
                  <a:pt x="142875" y="6477"/>
                </a:lnTo>
                <a:lnTo>
                  <a:pt x="4897452" y="6477"/>
                </a:lnTo>
                <a:lnTo>
                  <a:pt x="4857369" y="0"/>
                </a:lnTo>
                <a:close/>
              </a:path>
              <a:path w="5000625" h="3389629">
                <a:moveTo>
                  <a:pt x="4897452" y="6477"/>
                </a:moveTo>
                <a:lnTo>
                  <a:pt x="4857369" y="6477"/>
                </a:lnTo>
                <a:lnTo>
                  <a:pt x="4900473" y="13443"/>
                </a:lnTo>
                <a:lnTo>
                  <a:pt x="4937915" y="32827"/>
                </a:lnTo>
                <a:lnTo>
                  <a:pt x="4967444" y="62355"/>
                </a:lnTo>
                <a:lnTo>
                  <a:pt x="4986811" y="99753"/>
                </a:lnTo>
                <a:lnTo>
                  <a:pt x="4993767" y="142748"/>
                </a:lnTo>
                <a:lnTo>
                  <a:pt x="4993767" y="3324415"/>
                </a:lnTo>
                <a:lnTo>
                  <a:pt x="4989173" y="3347195"/>
                </a:lnTo>
                <a:lnTo>
                  <a:pt x="4976637" y="3365796"/>
                </a:lnTo>
                <a:lnTo>
                  <a:pt x="4958030" y="3378338"/>
                </a:lnTo>
                <a:lnTo>
                  <a:pt x="4935220" y="3382937"/>
                </a:lnTo>
                <a:lnTo>
                  <a:pt x="4962482" y="3382937"/>
                </a:lnTo>
                <a:lnTo>
                  <a:pt x="4981162" y="3370368"/>
                </a:lnTo>
                <a:lnTo>
                  <a:pt x="4995120" y="3349722"/>
                </a:lnTo>
                <a:lnTo>
                  <a:pt x="5000244" y="3324415"/>
                </a:lnTo>
                <a:lnTo>
                  <a:pt x="5000244" y="142748"/>
                </a:lnTo>
                <a:lnTo>
                  <a:pt x="4992944" y="97666"/>
                </a:lnTo>
                <a:lnTo>
                  <a:pt x="4972629" y="58485"/>
                </a:lnTo>
                <a:lnTo>
                  <a:pt x="4941676" y="27570"/>
                </a:lnTo>
                <a:lnTo>
                  <a:pt x="4902464" y="7286"/>
                </a:lnTo>
                <a:lnTo>
                  <a:pt x="4897452" y="6477"/>
                </a:lnTo>
                <a:close/>
              </a:path>
            </a:pathLst>
          </a:custGeom>
          <a:solidFill>
            <a:srgbClr val="FFFFFF">
              <a:alpha val="50195"/>
            </a:srgbClr>
          </a:solidFill>
        </p:spPr>
        <p:txBody>
          <a:bodyPr wrap="square" lIns="0" tIns="0" rIns="0" bIns="0" rtlCol="0"/>
          <a:lstStyle/>
          <a:p>
            <a:endParaRPr/>
          </a:p>
        </p:txBody>
      </p:sp>
      <p:sp>
        <p:nvSpPr>
          <p:cNvPr id="418" name="object 418"/>
          <p:cNvSpPr/>
          <p:nvPr/>
        </p:nvSpPr>
        <p:spPr>
          <a:xfrm>
            <a:off x="1271850" y="2298138"/>
            <a:ext cx="5044440" cy="3435095"/>
          </a:xfrm>
          <a:prstGeom prst="rect">
            <a:avLst/>
          </a:prstGeom>
          <a:blipFill>
            <a:blip r:embed="rId7" cstate="print"/>
            <a:stretch>
              <a:fillRect/>
            </a:stretch>
          </a:blipFill>
        </p:spPr>
        <p:txBody>
          <a:bodyPr wrap="square" lIns="0" tIns="0" rIns="0" bIns="0" rtlCol="0"/>
          <a:lstStyle/>
          <a:p>
            <a:endParaRPr/>
          </a:p>
        </p:txBody>
      </p:sp>
      <p:sp>
        <p:nvSpPr>
          <p:cNvPr id="419" name="object 419"/>
          <p:cNvSpPr/>
          <p:nvPr/>
        </p:nvSpPr>
        <p:spPr>
          <a:xfrm>
            <a:off x="6145601" y="2304233"/>
            <a:ext cx="164591" cy="164592"/>
          </a:xfrm>
          <a:prstGeom prst="rect">
            <a:avLst/>
          </a:prstGeom>
          <a:blipFill>
            <a:blip r:embed="rId8" cstate="print"/>
            <a:stretch>
              <a:fillRect/>
            </a:stretch>
          </a:blipFill>
        </p:spPr>
        <p:txBody>
          <a:bodyPr wrap="square" lIns="0" tIns="0" rIns="0" bIns="0" rtlCol="0"/>
          <a:lstStyle/>
          <a:p>
            <a:endParaRPr/>
          </a:p>
        </p:txBody>
      </p:sp>
      <p:sp>
        <p:nvSpPr>
          <p:cNvPr id="420" name="object 420"/>
          <p:cNvSpPr/>
          <p:nvPr/>
        </p:nvSpPr>
        <p:spPr>
          <a:xfrm>
            <a:off x="1277945" y="2304233"/>
            <a:ext cx="164592" cy="164592"/>
          </a:xfrm>
          <a:prstGeom prst="rect">
            <a:avLst/>
          </a:prstGeom>
          <a:blipFill>
            <a:blip r:embed="rId9" cstate="print"/>
            <a:stretch>
              <a:fillRect/>
            </a:stretch>
          </a:blipFill>
        </p:spPr>
        <p:txBody>
          <a:bodyPr wrap="square" lIns="0" tIns="0" rIns="0" bIns="0" rtlCol="0"/>
          <a:lstStyle/>
          <a:p>
            <a:endParaRPr/>
          </a:p>
        </p:txBody>
      </p:sp>
      <p:sp>
        <p:nvSpPr>
          <p:cNvPr id="421" name="object 421"/>
          <p:cNvSpPr/>
          <p:nvPr/>
        </p:nvSpPr>
        <p:spPr>
          <a:xfrm>
            <a:off x="1497402" y="2523689"/>
            <a:ext cx="4590415" cy="2875915"/>
          </a:xfrm>
          <a:custGeom>
            <a:avLst/>
            <a:gdLst/>
            <a:ahLst/>
            <a:cxnLst/>
            <a:rect l="l" t="t" r="r" b="b"/>
            <a:pathLst>
              <a:path w="4590415" h="2875915">
                <a:moveTo>
                  <a:pt x="4587367" y="0"/>
                </a:moveTo>
                <a:lnTo>
                  <a:pt x="2921" y="0"/>
                </a:lnTo>
                <a:lnTo>
                  <a:pt x="0" y="2920"/>
                </a:lnTo>
                <a:lnTo>
                  <a:pt x="0" y="2872854"/>
                </a:lnTo>
                <a:lnTo>
                  <a:pt x="2921" y="2875788"/>
                </a:lnTo>
                <a:lnTo>
                  <a:pt x="4587367" y="2875788"/>
                </a:lnTo>
                <a:lnTo>
                  <a:pt x="4590288" y="2872854"/>
                </a:lnTo>
                <a:lnTo>
                  <a:pt x="4590288" y="2869260"/>
                </a:lnTo>
                <a:lnTo>
                  <a:pt x="6603" y="2869260"/>
                </a:lnTo>
                <a:lnTo>
                  <a:pt x="6603" y="6476"/>
                </a:lnTo>
                <a:lnTo>
                  <a:pt x="4590288" y="6476"/>
                </a:lnTo>
                <a:lnTo>
                  <a:pt x="4590288" y="2920"/>
                </a:lnTo>
                <a:lnTo>
                  <a:pt x="4587367" y="0"/>
                </a:lnTo>
                <a:close/>
              </a:path>
              <a:path w="4590415" h="2875915">
                <a:moveTo>
                  <a:pt x="4590288" y="6476"/>
                </a:moveTo>
                <a:lnTo>
                  <a:pt x="4583684" y="6476"/>
                </a:lnTo>
                <a:lnTo>
                  <a:pt x="4583684" y="2869260"/>
                </a:lnTo>
                <a:lnTo>
                  <a:pt x="4590288" y="2869260"/>
                </a:lnTo>
                <a:lnTo>
                  <a:pt x="4590288" y="6476"/>
                </a:lnTo>
                <a:close/>
              </a:path>
            </a:pathLst>
          </a:custGeom>
          <a:solidFill>
            <a:srgbClr val="7C8083"/>
          </a:solidFill>
        </p:spPr>
        <p:txBody>
          <a:bodyPr wrap="square" lIns="0" tIns="0" rIns="0" bIns="0" rtlCol="0"/>
          <a:lstStyle/>
          <a:p>
            <a:endParaRPr/>
          </a:p>
        </p:txBody>
      </p:sp>
      <p:sp>
        <p:nvSpPr>
          <p:cNvPr id="422" name="object 422"/>
          <p:cNvSpPr/>
          <p:nvPr/>
        </p:nvSpPr>
        <p:spPr>
          <a:xfrm>
            <a:off x="1485209" y="2511498"/>
            <a:ext cx="4613275" cy="2898775"/>
          </a:xfrm>
          <a:custGeom>
            <a:avLst/>
            <a:gdLst/>
            <a:ahLst/>
            <a:cxnLst/>
            <a:rect l="l" t="t" r="r" b="b"/>
            <a:pathLst>
              <a:path w="4613275" h="2898775">
                <a:moveTo>
                  <a:pt x="4605020" y="0"/>
                </a:moveTo>
                <a:lnTo>
                  <a:pt x="8128" y="0"/>
                </a:lnTo>
                <a:lnTo>
                  <a:pt x="0" y="8000"/>
                </a:lnTo>
                <a:lnTo>
                  <a:pt x="0" y="2890596"/>
                </a:lnTo>
                <a:lnTo>
                  <a:pt x="8128" y="2898648"/>
                </a:lnTo>
                <a:lnTo>
                  <a:pt x="4605020" y="2898648"/>
                </a:lnTo>
                <a:lnTo>
                  <a:pt x="4608276" y="2895422"/>
                </a:lnTo>
                <a:lnTo>
                  <a:pt x="9778" y="2895422"/>
                </a:lnTo>
                <a:lnTo>
                  <a:pt x="3175" y="2888856"/>
                </a:lnTo>
                <a:lnTo>
                  <a:pt x="3175" y="9779"/>
                </a:lnTo>
                <a:lnTo>
                  <a:pt x="9778" y="3175"/>
                </a:lnTo>
                <a:lnTo>
                  <a:pt x="4608245" y="3175"/>
                </a:lnTo>
                <a:lnTo>
                  <a:pt x="4605020" y="0"/>
                </a:lnTo>
                <a:close/>
              </a:path>
              <a:path w="4613275" h="2898775">
                <a:moveTo>
                  <a:pt x="4608245" y="3175"/>
                </a:moveTo>
                <a:lnTo>
                  <a:pt x="4603369" y="3175"/>
                </a:lnTo>
                <a:lnTo>
                  <a:pt x="4609973" y="9779"/>
                </a:lnTo>
                <a:lnTo>
                  <a:pt x="4609973" y="2888856"/>
                </a:lnTo>
                <a:lnTo>
                  <a:pt x="4603369" y="2895422"/>
                </a:lnTo>
                <a:lnTo>
                  <a:pt x="4608276" y="2895422"/>
                </a:lnTo>
                <a:lnTo>
                  <a:pt x="4613148" y="2890596"/>
                </a:lnTo>
                <a:lnTo>
                  <a:pt x="4613148" y="8000"/>
                </a:lnTo>
                <a:lnTo>
                  <a:pt x="4608245" y="3175"/>
                </a:lnTo>
                <a:close/>
              </a:path>
            </a:pathLst>
          </a:custGeom>
          <a:solidFill>
            <a:srgbClr val="FFFFFF">
              <a:alpha val="50195"/>
            </a:srgbClr>
          </a:solidFill>
        </p:spPr>
        <p:txBody>
          <a:bodyPr wrap="square" lIns="0" tIns="0" rIns="0" bIns="0" rtlCol="0"/>
          <a:lstStyle/>
          <a:p>
            <a:endParaRPr/>
          </a:p>
        </p:txBody>
      </p:sp>
      <p:sp>
        <p:nvSpPr>
          <p:cNvPr id="423" name="object 423"/>
          <p:cNvSpPr/>
          <p:nvPr/>
        </p:nvSpPr>
        <p:spPr>
          <a:xfrm>
            <a:off x="3762065" y="2397198"/>
            <a:ext cx="62483" cy="62483"/>
          </a:xfrm>
          <a:prstGeom prst="rect">
            <a:avLst/>
          </a:prstGeom>
          <a:blipFill>
            <a:blip r:embed="rId10" cstate="print"/>
            <a:stretch>
              <a:fillRect/>
            </a:stretch>
          </a:blipFill>
        </p:spPr>
        <p:txBody>
          <a:bodyPr wrap="square" lIns="0" tIns="0" rIns="0" bIns="0" rtlCol="0"/>
          <a:lstStyle/>
          <a:p>
            <a:endParaRPr/>
          </a:p>
        </p:txBody>
      </p:sp>
      <p:sp>
        <p:nvSpPr>
          <p:cNvPr id="424" name="object 424"/>
          <p:cNvSpPr/>
          <p:nvPr/>
        </p:nvSpPr>
        <p:spPr>
          <a:xfrm>
            <a:off x="683586" y="5731709"/>
            <a:ext cx="6222491" cy="118872"/>
          </a:xfrm>
          <a:prstGeom prst="rect">
            <a:avLst/>
          </a:prstGeom>
          <a:blipFill>
            <a:blip r:embed="rId11" cstate="print"/>
            <a:stretch>
              <a:fillRect/>
            </a:stretch>
          </a:blipFill>
        </p:spPr>
        <p:txBody>
          <a:bodyPr wrap="square" lIns="0" tIns="0" rIns="0" bIns="0" rtlCol="0"/>
          <a:lstStyle/>
          <a:p>
            <a:endParaRPr/>
          </a:p>
        </p:txBody>
      </p:sp>
      <p:sp>
        <p:nvSpPr>
          <p:cNvPr id="425" name="object 425"/>
          <p:cNvSpPr/>
          <p:nvPr/>
        </p:nvSpPr>
        <p:spPr>
          <a:xfrm>
            <a:off x="683586" y="5731709"/>
            <a:ext cx="6222491" cy="118872"/>
          </a:xfrm>
          <a:prstGeom prst="rect">
            <a:avLst/>
          </a:prstGeom>
          <a:blipFill>
            <a:blip r:embed="rId12" cstate="print"/>
            <a:stretch>
              <a:fillRect/>
            </a:stretch>
          </a:blipFill>
        </p:spPr>
        <p:txBody>
          <a:bodyPr wrap="square" lIns="0" tIns="0" rIns="0" bIns="0" rtlCol="0"/>
          <a:lstStyle/>
          <a:p>
            <a:endParaRPr/>
          </a:p>
        </p:txBody>
      </p:sp>
      <p:sp>
        <p:nvSpPr>
          <p:cNvPr id="426" name="object 426"/>
          <p:cNvSpPr/>
          <p:nvPr/>
        </p:nvSpPr>
        <p:spPr>
          <a:xfrm>
            <a:off x="674442" y="5716470"/>
            <a:ext cx="6236208" cy="15240"/>
          </a:xfrm>
          <a:prstGeom prst="rect">
            <a:avLst/>
          </a:prstGeom>
          <a:blipFill>
            <a:blip r:embed="rId13" cstate="print"/>
            <a:stretch>
              <a:fillRect/>
            </a:stretch>
          </a:blipFill>
        </p:spPr>
        <p:txBody>
          <a:bodyPr wrap="square" lIns="0" tIns="0" rIns="0" bIns="0" rtlCol="0"/>
          <a:lstStyle/>
          <a:p>
            <a:endParaRPr/>
          </a:p>
        </p:txBody>
      </p:sp>
      <p:sp>
        <p:nvSpPr>
          <p:cNvPr id="427" name="object 427"/>
          <p:cNvSpPr/>
          <p:nvPr/>
        </p:nvSpPr>
        <p:spPr>
          <a:xfrm>
            <a:off x="683586" y="5731709"/>
            <a:ext cx="6222491" cy="36575"/>
          </a:xfrm>
          <a:prstGeom prst="rect">
            <a:avLst/>
          </a:prstGeom>
          <a:blipFill>
            <a:blip r:embed="rId14" cstate="print"/>
            <a:stretch>
              <a:fillRect/>
            </a:stretch>
          </a:blipFill>
        </p:spPr>
        <p:txBody>
          <a:bodyPr wrap="square" lIns="0" tIns="0" rIns="0" bIns="0" rtlCol="0"/>
          <a:lstStyle/>
          <a:p>
            <a:endParaRPr/>
          </a:p>
        </p:txBody>
      </p:sp>
      <p:sp>
        <p:nvSpPr>
          <p:cNvPr id="428" name="object 428"/>
          <p:cNvSpPr/>
          <p:nvPr/>
        </p:nvSpPr>
        <p:spPr>
          <a:xfrm>
            <a:off x="3256097" y="5716470"/>
            <a:ext cx="1039368" cy="33528"/>
          </a:xfrm>
          <a:prstGeom prst="rect">
            <a:avLst/>
          </a:prstGeom>
          <a:blipFill>
            <a:blip r:embed="rId15" cstate="print"/>
            <a:stretch>
              <a:fillRect/>
            </a:stretch>
          </a:blipFill>
        </p:spPr>
        <p:txBody>
          <a:bodyPr wrap="square" lIns="0" tIns="0" rIns="0" bIns="0" rtlCol="0"/>
          <a:lstStyle/>
          <a:p>
            <a:endParaRPr/>
          </a:p>
        </p:txBody>
      </p:sp>
      <p:sp>
        <p:nvSpPr>
          <p:cNvPr id="429" name="object 429"/>
          <p:cNvSpPr/>
          <p:nvPr/>
        </p:nvSpPr>
        <p:spPr>
          <a:xfrm>
            <a:off x="3246953" y="5740853"/>
            <a:ext cx="1060703" cy="22859"/>
          </a:xfrm>
          <a:prstGeom prst="rect">
            <a:avLst/>
          </a:prstGeom>
          <a:blipFill>
            <a:blip r:embed="rId16" cstate="print"/>
            <a:stretch>
              <a:fillRect/>
            </a:stretch>
          </a:blipFill>
        </p:spPr>
        <p:txBody>
          <a:bodyPr wrap="square" lIns="0" tIns="0" rIns="0" bIns="0" rtlCol="0"/>
          <a:lstStyle/>
          <a:p>
            <a:endParaRPr/>
          </a:p>
        </p:txBody>
      </p:sp>
      <p:sp>
        <p:nvSpPr>
          <p:cNvPr id="430" name="object 430"/>
          <p:cNvSpPr/>
          <p:nvPr/>
        </p:nvSpPr>
        <p:spPr>
          <a:xfrm>
            <a:off x="2723840" y="5788097"/>
            <a:ext cx="58674" cy="12192"/>
          </a:xfrm>
          <a:prstGeom prst="rect">
            <a:avLst/>
          </a:prstGeom>
          <a:blipFill>
            <a:blip r:embed="rId17" cstate="print"/>
            <a:stretch>
              <a:fillRect/>
            </a:stretch>
          </a:blipFill>
        </p:spPr>
        <p:txBody>
          <a:bodyPr wrap="square" lIns="0" tIns="0" rIns="0" bIns="0" rtlCol="0"/>
          <a:lstStyle/>
          <a:p>
            <a:endParaRPr/>
          </a:p>
        </p:txBody>
      </p:sp>
      <p:sp>
        <p:nvSpPr>
          <p:cNvPr id="431" name="object 431"/>
          <p:cNvSpPr/>
          <p:nvPr/>
        </p:nvSpPr>
        <p:spPr>
          <a:xfrm>
            <a:off x="4770572" y="5788097"/>
            <a:ext cx="58674" cy="12192"/>
          </a:xfrm>
          <a:prstGeom prst="rect">
            <a:avLst/>
          </a:prstGeom>
          <a:blipFill>
            <a:blip r:embed="rId18" cstate="print"/>
            <a:stretch>
              <a:fillRect/>
            </a:stretch>
          </a:blipFill>
        </p:spPr>
        <p:txBody>
          <a:bodyPr wrap="square" lIns="0" tIns="0" rIns="0" bIns="0" rtlCol="0"/>
          <a:lstStyle/>
          <a:p>
            <a:endParaRPr/>
          </a:p>
        </p:txBody>
      </p:sp>
      <p:sp>
        <p:nvSpPr>
          <p:cNvPr id="432" name="object 432"/>
          <p:cNvSpPr/>
          <p:nvPr/>
        </p:nvSpPr>
        <p:spPr>
          <a:xfrm>
            <a:off x="698825" y="5731709"/>
            <a:ext cx="6192012" cy="22859"/>
          </a:xfrm>
          <a:prstGeom prst="rect">
            <a:avLst/>
          </a:prstGeom>
          <a:blipFill>
            <a:blip r:embed="rId19" cstate="print"/>
            <a:stretch>
              <a:fillRect/>
            </a:stretch>
          </a:blipFill>
        </p:spPr>
        <p:txBody>
          <a:bodyPr wrap="square" lIns="0" tIns="0" rIns="0" bIns="0" rtlCol="0"/>
          <a:lstStyle/>
          <a:p>
            <a:endParaRPr/>
          </a:p>
        </p:txBody>
      </p:sp>
      <p:sp>
        <p:nvSpPr>
          <p:cNvPr id="433" name="object 433"/>
          <p:cNvSpPr/>
          <p:nvPr/>
        </p:nvSpPr>
        <p:spPr>
          <a:xfrm>
            <a:off x="3768162" y="2403294"/>
            <a:ext cx="48767" cy="48767"/>
          </a:xfrm>
          <a:prstGeom prst="rect">
            <a:avLst/>
          </a:prstGeom>
          <a:blipFill>
            <a:blip r:embed="rId20" cstate="print"/>
            <a:stretch>
              <a:fillRect/>
            </a:stretch>
          </a:blipFill>
        </p:spPr>
        <p:txBody>
          <a:bodyPr wrap="square" lIns="0" tIns="0" rIns="0" bIns="0" rtlCol="0"/>
          <a:lstStyle/>
          <a:p>
            <a:endParaRPr/>
          </a:p>
        </p:txBody>
      </p:sp>
      <p:sp>
        <p:nvSpPr>
          <p:cNvPr id="434" name="object 434"/>
          <p:cNvSpPr/>
          <p:nvPr/>
        </p:nvSpPr>
        <p:spPr>
          <a:xfrm>
            <a:off x="3525845" y="2331666"/>
            <a:ext cx="2752344" cy="3363467"/>
          </a:xfrm>
          <a:prstGeom prst="rect">
            <a:avLst/>
          </a:prstGeom>
          <a:blipFill>
            <a:blip r:embed="rId21" cstate="print"/>
            <a:stretch>
              <a:fillRect/>
            </a:stretch>
          </a:blipFill>
        </p:spPr>
        <p:txBody>
          <a:bodyPr wrap="square" lIns="0" tIns="0" rIns="0" bIns="0" rtlCol="0"/>
          <a:lstStyle/>
          <a:p>
            <a:endParaRPr/>
          </a:p>
        </p:txBody>
      </p:sp>
      <p:sp>
        <p:nvSpPr>
          <p:cNvPr id="435" name="object 435"/>
          <p:cNvSpPr/>
          <p:nvPr/>
        </p:nvSpPr>
        <p:spPr>
          <a:xfrm>
            <a:off x="1597986" y="2884877"/>
            <a:ext cx="4431791" cy="2350008"/>
          </a:xfrm>
          <a:prstGeom prst="rect">
            <a:avLst/>
          </a:prstGeom>
          <a:blipFill>
            <a:blip r:embed="rId22" cstate="print"/>
            <a:stretch>
              <a:fillRect/>
            </a:stretch>
          </a:blipFill>
        </p:spPr>
        <p:txBody>
          <a:bodyPr wrap="square" lIns="0" tIns="0" rIns="0" bIns="0" rtlCol="0"/>
          <a:lstStyle/>
          <a:p>
            <a:endParaRPr/>
          </a:p>
        </p:txBody>
      </p:sp>
      <p:sp>
        <p:nvSpPr>
          <p:cNvPr id="436" name="object 436"/>
          <p:cNvSpPr txBox="1">
            <a:spLocks noGrp="1"/>
          </p:cNvSpPr>
          <p:nvPr>
            <p:ph type="title"/>
          </p:nvPr>
        </p:nvSpPr>
        <p:spPr>
          <a:xfrm>
            <a:off x="822959" y="810191"/>
            <a:ext cx="11229532" cy="553998"/>
          </a:xfrm>
          <a:prstGeom prst="rect">
            <a:avLst/>
          </a:prstGeom>
        </p:spPr>
        <p:txBody>
          <a:bodyPr vert="horz" wrap="square" lIns="0" tIns="0" rIns="0" bIns="0" rtlCol="0">
            <a:spAutoFit/>
          </a:bodyPr>
          <a:lstStyle/>
          <a:p>
            <a:pPr marL="12700" algn="l">
              <a:lnSpc>
                <a:spcPct val="100000"/>
              </a:lnSpc>
            </a:pPr>
            <a:r>
              <a:rPr sz="3600" b="1" u="sng" spc="-30" dirty="0">
                <a:solidFill>
                  <a:schemeClr val="accent1">
                    <a:lumMod val="50000"/>
                  </a:schemeClr>
                </a:solidFill>
                <a:effectLst/>
                <a:latin typeface="Arial"/>
                <a:cs typeface="Arial"/>
              </a:rPr>
              <a:t>I</a:t>
            </a:r>
            <a:r>
              <a:rPr lang="en-US" sz="3600" b="1" u="sng" spc="-30" dirty="0">
                <a:solidFill>
                  <a:schemeClr val="accent1">
                    <a:lumMod val="50000"/>
                  </a:schemeClr>
                </a:solidFill>
                <a:effectLst/>
                <a:latin typeface="Arial"/>
                <a:cs typeface="Arial"/>
              </a:rPr>
              <a:t>nformed Visibility Mail Tracking and Reporting</a:t>
            </a:r>
            <a:endParaRPr sz="3200" u="sng" baseline="25132" dirty="0">
              <a:solidFill>
                <a:schemeClr val="accent1">
                  <a:lumMod val="50000"/>
                </a:schemeClr>
              </a:solidFill>
              <a:effectLst/>
              <a:latin typeface="Arial"/>
              <a:cs typeface="Arial"/>
            </a:endParaRPr>
          </a:p>
        </p:txBody>
      </p:sp>
      <p:sp>
        <p:nvSpPr>
          <p:cNvPr id="444" name="object 444"/>
          <p:cNvSpPr txBox="1"/>
          <p:nvPr/>
        </p:nvSpPr>
        <p:spPr>
          <a:xfrm>
            <a:off x="11606276" y="6459118"/>
            <a:ext cx="168910" cy="169545"/>
          </a:xfrm>
          <a:prstGeom prst="rect">
            <a:avLst/>
          </a:prstGeom>
        </p:spPr>
        <p:txBody>
          <a:bodyPr vert="horz" wrap="square" lIns="0" tIns="0" rIns="0" bIns="0" rtlCol="0">
            <a:spAutoFit/>
          </a:bodyPr>
          <a:lstStyle/>
          <a:p>
            <a:pPr marL="12700">
              <a:lnSpc>
                <a:spcPct val="100000"/>
              </a:lnSpc>
            </a:pPr>
            <a:r>
              <a:rPr sz="1000" spc="35" dirty="0">
                <a:solidFill>
                  <a:srgbClr val="63696D"/>
                </a:solidFill>
                <a:latin typeface="Trebuchet MS"/>
                <a:cs typeface="Trebuchet MS"/>
              </a:rPr>
              <a:t>36</a:t>
            </a:r>
            <a:endParaRPr sz="1000">
              <a:latin typeface="Trebuchet MS"/>
              <a:cs typeface="Trebuchet MS"/>
            </a:endParaRPr>
          </a:p>
        </p:txBody>
      </p:sp>
      <p:sp>
        <p:nvSpPr>
          <p:cNvPr id="448" name="TextBox 447">
            <a:extLst>
              <a:ext uri="{FF2B5EF4-FFF2-40B4-BE49-F238E27FC236}">
                <a16:creationId xmlns:a16="http://schemas.microsoft.com/office/drawing/2014/main" id="{B175AB1A-7A2B-4A9B-B30D-F4AA35D09480}"/>
              </a:ext>
            </a:extLst>
          </p:cNvPr>
          <p:cNvSpPr txBox="1"/>
          <p:nvPr/>
        </p:nvSpPr>
        <p:spPr>
          <a:xfrm>
            <a:off x="7231379" y="1662874"/>
            <a:ext cx="4292725" cy="5293757"/>
          </a:xfrm>
          <a:prstGeom prst="rect">
            <a:avLst/>
          </a:prstGeom>
          <a:noFill/>
        </p:spPr>
        <p:txBody>
          <a:bodyPr wrap="square" rtlCol="0">
            <a:spAutoFit/>
          </a:bodyPr>
          <a:lstStyle/>
          <a:p>
            <a:pPr algn="l"/>
            <a:r>
              <a:rPr lang="en-US" sz="2000" b="1" i="0" dirty="0">
                <a:solidFill>
                  <a:schemeClr val="accent1">
                    <a:lumMod val="50000"/>
                  </a:schemeClr>
                </a:solidFill>
                <a:effectLst/>
                <a:latin typeface="Arial" panose="020B0604020202020204" pitchFamily="34" charset="0"/>
                <a:cs typeface="Arial" panose="020B0604020202020204" pitchFamily="34" charset="0"/>
              </a:rPr>
              <a:t>Informed Visibility Mail Tracking &amp; Reporting (IV</a:t>
            </a:r>
            <a:r>
              <a:rPr lang="en-US" sz="2000" b="1" i="0" baseline="30000" dirty="0">
                <a:solidFill>
                  <a:schemeClr val="accent1">
                    <a:lumMod val="50000"/>
                  </a:schemeClr>
                </a:solidFill>
                <a:effectLst/>
                <a:latin typeface="Arial" panose="020B0604020202020204" pitchFamily="34" charset="0"/>
                <a:cs typeface="Arial" panose="020B0604020202020204" pitchFamily="34" charset="0"/>
              </a:rPr>
              <a:t>®</a:t>
            </a:r>
            <a:r>
              <a:rPr lang="en-US" sz="2000" b="1" i="0" dirty="0">
                <a:solidFill>
                  <a:schemeClr val="accent1">
                    <a:lumMod val="50000"/>
                  </a:schemeClr>
                </a:solidFill>
                <a:effectLst/>
                <a:latin typeface="Arial" panose="020B0604020202020204" pitchFamily="34" charset="0"/>
                <a:cs typeface="Arial" panose="020B0604020202020204" pitchFamily="34" charset="0"/>
              </a:rPr>
              <a:t>-MTR) is the U.S. Postal Service’s solution for near real-time letter and flat mail tracking information</a:t>
            </a:r>
          </a:p>
          <a:p>
            <a:pPr algn="l"/>
            <a:endParaRPr lang="en-US" sz="2000" b="1" i="0" dirty="0">
              <a:solidFill>
                <a:schemeClr val="accent1">
                  <a:lumMod val="50000"/>
                </a:schemeClr>
              </a:solidFill>
              <a:effectLst/>
              <a:latin typeface="Arial" panose="020B0604020202020204" pitchFamily="34" charset="0"/>
              <a:cs typeface="Arial" panose="020B0604020202020204" pitchFamily="34" charset="0"/>
            </a:endParaRPr>
          </a:p>
          <a:p>
            <a:pPr algn="l"/>
            <a:r>
              <a:rPr lang="en-US" sz="2000" b="1" i="0" dirty="0">
                <a:solidFill>
                  <a:schemeClr val="accent1">
                    <a:lumMod val="50000"/>
                  </a:schemeClr>
                </a:solidFill>
                <a:effectLst/>
                <a:latin typeface="Arial" panose="020B0604020202020204" pitchFamily="34" charset="0"/>
                <a:cs typeface="Arial" panose="020B0604020202020204" pitchFamily="34" charset="0"/>
              </a:rPr>
              <a:t>The IV-MTR application </a:t>
            </a:r>
            <a:r>
              <a:rPr lang="en-US" sz="2000" b="1" dirty="0">
                <a:solidFill>
                  <a:schemeClr val="accent1">
                    <a:lumMod val="50000"/>
                  </a:schemeClr>
                </a:solidFill>
                <a:latin typeface="Arial" panose="020B0604020202020204" pitchFamily="34" charset="0"/>
                <a:cs typeface="Arial" panose="020B0604020202020204" pitchFamily="34" charset="0"/>
              </a:rPr>
              <a:t>p</a:t>
            </a:r>
            <a:r>
              <a:rPr lang="en-US" sz="2000" b="1" i="0" dirty="0">
                <a:solidFill>
                  <a:schemeClr val="accent1">
                    <a:lumMod val="50000"/>
                  </a:schemeClr>
                </a:solidFill>
                <a:effectLst/>
                <a:latin typeface="Arial" panose="020B0604020202020204" pitchFamily="34" charset="0"/>
                <a:cs typeface="Arial" panose="020B0604020202020204" pitchFamily="34" charset="0"/>
              </a:rPr>
              <a:t>rovides end-to-end mail tracking information for letter and flat pieces, bundles, handling units, and containers</a:t>
            </a:r>
          </a:p>
          <a:p>
            <a:pPr algn="l"/>
            <a:endParaRPr lang="en-US" sz="2000" b="1" dirty="0">
              <a:solidFill>
                <a:schemeClr val="accent1">
                  <a:lumMod val="50000"/>
                </a:schemeClr>
              </a:solidFill>
              <a:latin typeface="Arial" panose="020B0604020202020204" pitchFamily="34" charset="0"/>
              <a:cs typeface="Arial" panose="020B0604020202020204" pitchFamily="34" charset="0"/>
            </a:endParaRPr>
          </a:p>
          <a:p>
            <a:pPr algn="l"/>
            <a:r>
              <a:rPr lang="en-US" sz="2000" b="1" i="0" dirty="0">
                <a:solidFill>
                  <a:schemeClr val="accent1">
                    <a:lumMod val="50000"/>
                  </a:schemeClr>
                </a:solidFill>
                <a:effectLst/>
                <a:latin typeface="Arial" panose="020B0604020202020204" pitchFamily="34" charset="0"/>
                <a:cs typeface="Arial" panose="020B0604020202020204" pitchFamily="34" charset="0"/>
              </a:rPr>
              <a:t>We encourage elections officials to make use of Informed Visibility to </a:t>
            </a:r>
            <a:r>
              <a:rPr lang="en-US" sz="2000" b="1" i="0" dirty="0">
                <a:solidFill>
                  <a:srgbClr val="1F4E79"/>
                </a:solidFill>
                <a:effectLst/>
                <a:latin typeface="Arial" panose="020B0604020202020204" pitchFamily="34" charset="0"/>
                <a:cs typeface="Arial" panose="020B0604020202020204" pitchFamily="34" charset="0"/>
              </a:rPr>
              <a:t>better plan Election Mail mailings and resources.</a:t>
            </a:r>
            <a:br>
              <a:rPr lang="en-US" dirty="0"/>
            </a:br>
            <a:endParaRPr lang="en-US" dirty="0"/>
          </a:p>
        </p:txBody>
      </p:sp>
      <p:sp>
        <p:nvSpPr>
          <p:cNvPr id="449" name="Rectangle 2">
            <a:extLst>
              <a:ext uri="{FF2B5EF4-FFF2-40B4-BE49-F238E27FC236}">
                <a16:creationId xmlns:a16="http://schemas.microsoft.com/office/drawing/2014/main" id="{4780ADCF-D623-406C-908B-A523B83D8B4B}"/>
              </a:ext>
            </a:extLst>
          </p:cNvPr>
          <p:cNvSpPr txBox="1">
            <a:spLocks/>
          </p:cNvSpPr>
          <p:nvPr/>
        </p:nvSpPr>
        <p:spPr bwMode="auto">
          <a:xfrm>
            <a:off x="5353878" y="0"/>
            <a:ext cx="6228522" cy="62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charset="0"/>
              </a:defRPr>
            </a:lvl2pPr>
            <a:lvl3pPr algn="r" rtl="0" eaLnBrk="0" fontAlgn="base" hangingPunct="0">
              <a:spcBef>
                <a:spcPct val="0"/>
              </a:spcBef>
              <a:spcAft>
                <a:spcPct val="0"/>
              </a:spcAft>
              <a:defRPr sz="3200" b="1">
                <a:solidFill>
                  <a:schemeClr val="bg1"/>
                </a:solidFill>
                <a:latin typeface="Arial" charset="0"/>
              </a:defRPr>
            </a:lvl3pPr>
            <a:lvl4pPr algn="r" rtl="0" eaLnBrk="0" fontAlgn="base" hangingPunct="0">
              <a:spcBef>
                <a:spcPct val="0"/>
              </a:spcBef>
              <a:spcAft>
                <a:spcPct val="0"/>
              </a:spcAft>
              <a:defRPr sz="3200" b="1">
                <a:solidFill>
                  <a:schemeClr val="bg1"/>
                </a:solidFill>
                <a:latin typeface="Arial" charset="0"/>
              </a:defRPr>
            </a:lvl4pPr>
            <a:lvl5pPr algn="r" rtl="0" eaLnBrk="0" fontAlgn="base" hangingPunct="0">
              <a:spcBef>
                <a:spcPct val="0"/>
              </a:spcBef>
              <a:spcAft>
                <a:spcPct val="0"/>
              </a:spcAft>
              <a:defRPr sz="3200" b="1">
                <a:solidFill>
                  <a:schemeClr val="bg1"/>
                </a:solidFill>
                <a:latin typeface="Arial" charset="0"/>
              </a:defRPr>
            </a:lvl5pPr>
            <a:lvl6pPr marL="457200" algn="r" rtl="0" eaLnBrk="0" fontAlgn="base" hangingPunct="0">
              <a:spcBef>
                <a:spcPct val="0"/>
              </a:spcBef>
              <a:spcAft>
                <a:spcPct val="0"/>
              </a:spcAft>
              <a:defRPr sz="3200" b="1">
                <a:solidFill>
                  <a:schemeClr val="bg1"/>
                </a:solidFill>
                <a:latin typeface="Arial" charset="0"/>
              </a:defRPr>
            </a:lvl6pPr>
            <a:lvl7pPr marL="914400" algn="r" rtl="0" eaLnBrk="0" fontAlgn="base" hangingPunct="0">
              <a:spcBef>
                <a:spcPct val="0"/>
              </a:spcBef>
              <a:spcAft>
                <a:spcPct val="0"/>
              </a:spcAft>
              <a:defRPr sz="3200" b="1">
                <a:solidFill>
                  <a:schemeClr val="bg1"/>
                </a:solidFill>
                <a:latin typeface="Arial" charset="0"/>
              </a:defRPr>
            </a:lvl7pPr>
            <a:lvl8pPr marL="1371600" algn="r" rtl="0" eaLnBrk="0" fontAlgn="base" hangingPunct="0">
              <a:spcBef>
                <a:spcPct val="0"/>
              </a:spcBef>
              <a:spcAft>
                <a:spcPct val="0"/>
              </a:spcAft>
              <a:defRPr sz="3200" b="1">
                <a:solidFill>
                  <a:schemeClr val="bg1"/>
                </a:solidFill>
                <a:latin typeface="Arial" charset="0"/>
              </a:defRPr>
            </a:lvl8pPr>
            <a:lvl9pPr marL="1828800" algn="r" rtl="0" eaLnBrk="0" fontAlgn="base" hangingPunct="0">
              <a:spcBef>
                <a:spcPct val="0"/>
              </a:spcBef>
              <a:spcAft>
                <a:spcPct val="0"/>
              </a:spcAft>
              <a:defRPr sz="3200" b="1">
                <a:solidFill>
                  <a:schemeClr val="bg1"/>
                </a:solidFill>
                <a:latin typeface="Arial" charset="0"/>
              </a:defRPr>
            </a:lvl9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panose="020B0604020202020204" pitchFamily="34" charset="0"/>
                <a:cs typeface="Arial" panose="020B0604020202020204" pitchFamily="34" charset="0"/>
              </a:rPr>
              <a:t>2023 Election Mail Planning</a:t>
            </a:r>
          </a:p>
        </p:txBody>
      </p:sp>
    </p:spTree>
    <p:extLst>
      <p:ext uri="{BB962C8B-B14F-4D97-AF65-F5344CB8AC3E}">
        <p14:creationId xmlns:p14="http://schemas.microsoft.com/office/powerpoint/2010/main" val="2721655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2981617" y="0"/>
            <a:ext cx="8565341"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marR="0" lvl="1" indent="-228600" algn="r" defTabSz="914400" rtl="0" eaLnBrk="1" fontAlgn="base" latinLnBrk="0" hangingPunct="1">
              <a:lnSpc>
                <a:spcPct val="90000"/>
              </a:lnSpc>
              <a:spcBef>
                <a:spcPts val="1200"/>
              </a:spcBef>
              <a:spcAft>
                <a:spcPts val="600"/>
              </a:spcAft>
              <a:buClr>
                <a:srgbClr val="000000"/>
              </a:buClr>
              <a:buSzTx/>
              <a:buFontTx/>
              <a:buNone/>
              <a:tabLst/>
              <a:defRPr/>
            </a:pPr>
            <a:r>
              <a:rPr kumimoji="0" lang="en-US" sz="2800" b="1" i="0" u="none" strike="noStrike" kern="1200" cap="none" spc="0" normalizeH="0" baseline="0" noProof="0" dirty="0">
                <a:ln>
                  <a:noFill/>
                </a:ln>
                <a:solidFill>
                  <a:srgbClr val="304E96"/>
                </a:solidFill>
                <a:effectLst/>
                <a:uLnTx/>
                <a:uFillTx/>
                <a:latin typeface="Arial"/>
                <a:ea typeface="+mn-ea"/>
                <a:cs typeface="Arial"/>
              </a:rPr>
              <a:t>Election &amp; Government Mail Services</a:t>
            </a:r>
          </a:p>
        </p:txBody>
      </p:sp>
      <p:sp>
        <p:nvSpPr>
          <p:cNvPr id="5" name="TextBox 4">
            <a:extLst>
              <a:ext uri="{FF2B5EF4-FFF2-40B4-BE49-F238E27FC236}">
                <a16:creationId xmlns:a16="http://schemas.microsoft.com/office/drawing/2014/main" id="{69D70FC0-1A88-48EE-7071-D8B238F82627}"/>
              </a:ext>
            </a:extLst>
          </p:cNvPr>
          <p:cNvSpPr txBox="1"/>
          <p:nvPr/>
        </p:nvSpPr>
        <p:spPr>
          <a:xfrm>
            <a:off x="647239" y="1036320"/>
            <a:ext cx="10899719" cy="800219"/>
          </a:xfrm>
          <a:prstGeom prst="rect">
            <a:avLst/>
          </a:prstGeom>
          <a:noFill/>
        </p:spPr>
        <p:txBody>
          <a:bodyPr wrap="square">
            <a:spAutoFit/>
          </a:bodyPr>
          <a:lstStyle/>
          <a:p>
            <a:r>
              <a:rPr lang="en-US" sz="2800" b="1" dirty="0">
                <a:solidFill>
                  <a:srgbClr val="304E96"/>
                </a:solidFill>
                <a:latin typeface="Arial" panose="020B0604020202020204" pitchFamily="34" charset="0"/>
                <a:cs typeface="Arial" panose="020B0604020202020204" pitchFamily="34" charset="0"/>
              </a:rPr>
              <a:t>Resources</a:t>
            </a:r>
            <a:endParaRPr lang="en-US" sz="2800" dirty="0">
              <a:solidFill>
                <a:srgbClr val="304E96"/>
              </a:solidFill>
              <a:latin typeface="Arial" panose="020B0604020202020204" pitchFamily="34" charset="0"/>
              <a:cs typeface="Arial" panose="020B0604020202020204" pitchFamily="34" charset="0"/>
            </a:endParaRPr>
          </a:p>
          <a:p>
            <a:pPr lvl="1"/>
            <a:endParaRPr lang="en-US" dirty="0">
              <a:solidFill>
                <a:srgbClr val="304E96"/>
              </a:solidFill>
            </a:endParaRPr>
          </a:p>
        </p:txBody>
      </p:sp>
      <p:pic>
        <p:nvPicPr>
          <p:cNvPr id="7" name="Picture 6">
            <a:extLst>
              <a:ext uri="{FF2B5EF4-FFF2-40B4-BE49-F238E27FC236}">
                <a16:creationId xmlns:a16="http://schemas.microsoft.com/office/drawing/2014/main" id="{B12A3167-0E2B-A5A5-6EE4-7B1FFD7A75D2}"/>
              </a:ext>
            </a:extLst>
          </p:cNvPr>
          <p:cNvPicPr>
            <a:picLocks noChangeAspect="1"/>
          </p:cNvPicPr>
          <p:nvPr/>
        </p:nvPicPr>
        <p:blipFill rotWithShape="1">
          <a:blip r:embed="rId3"/>
          <a:srcRect t="600" r="1596" b="748"/>
          <a:stretch/>
        </p:blipFill>
        <p:spPr>
          <a:xfrm>
            <a:off x="645042" y="1543937"/>
            <a:ext cx="2336575" cy="3126793"/>
          </a:xfrm>
          <a:prstGeom prst="rect">
            <a:avLst/>
          </a:prstGeom>
          <a:ln>
            <a:solidFill>
              <a:schemeClr val="tx1"/>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0B77BE8B-2C9E-7CEA-F354-B632817C6071}"/>
              </a:ext>
            </a:extLst>
          </p:cNvPr>
          <p:cNvPicPr>
            <a:picLocks noChangeAspect="1"/>
          </p:cNvPicPr>
          <p:nvPr/>
        </p:nvPicPr>
        <p:blipFill>
          <a:blip r:embed="rId4"/>
          <a:stretch>
            <a:fillRect/>
          </a:stretch>
        </p:blipFill>
        <p:spPr>
          <a:xfrm>
            <a:off x="3366259" y="2432583"/>
            <a:ext cx="2351282" cy="3126793"/>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DEC5F2AC-D390-4611-A3AA-0226CB45BEB5}"/>
              </a:ext>
            </a:extLst>
          </p:cNvPr>
          <p:cNvPicPr>
            <a:picLocks noChangeAspect="1"/>
          </p:cNvPicPr>
          <p:nvPr/>
        </p:nvPicPr>
        <p:blipFill>
          <a:blip r:embed="rId5"/>
          <a:stretch>
            <a:fillRect/>
          </a:stretch>
        </p:blipFill>
        <p:spPr>
          <a:xfrm>
            <a:off x="7036983" y="3654275"/>
            <a:ext cx="3891279" cy="1868732"/>
          </a:xfrm>
          <a:prstGeom prst="rect">
            <a:avLst/>
          </a:prstGeom>
        </p:spPr>
      </p:pic>
      <p:sp>
        <p:nvSpPr>
          <p:cNvPr id="32" name="Title Placeholder 1">
            <a:extLst>
              <a:ext uri="{FF2B5EF4-FFF2-40B4-BE49-F238E27FC236}">
                <a16:creationId xmlns:a16="http://schemas.microsoft.com/office/drawing/2014/main" id="{01EB9315-96F6-DC59-7B6F-11D8B8246347}"/>
              </a:ext>
            </a:extLst>
          </p:cNvPr>
          <p:cNvSpPr txBox="1">
            <a:spLocks/>
          </p:cNvSpPr>
          <p:nvPr/>
        </p:nvSpPr>
        <p:spPr>
          <a:xfrm>
            <a:off x="3088640" y="1879600"/>
            <a:ext cx="7896686" cy="127810"/>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algn="l" eaLnBrk="0" fontAlgn="base" hangingPunct="0">
              <a:spcAft>
                <a:spcPct val="0"/>
              </a:spcAft>
              <a:defRPr/>
            </a:pPr>
            <a:r>
              <a:rPr lang="en-US" dirty="0">
                <a:effectLst/>
                <a:latin typeface="Arial" panose="020B0604020202020204" pitchFamily="34" charset="0"/>
                <a:ea typeface="+mn-ea"/>
                <a:cs typeface="Arial" panose="020B0604020202020204" pitchFamily="34" charset="0"/>
              </a:rPr>
              <a:t>Kit 600 - The 2022 Official Election Mail Program Kit</a:t>
            </a:r>
          </a:p>
        </p:txBody>
      </p:sp>
      <p:sp>
        <p:nvSpPr>
          <p:cNvPr id="34" name="TextBox 33">
            <a:extLst>
              <a:ext uri="{FF2B5EF4-FFF2-40B4-BE49-F238E27FC236}">
                <a16:creationId xmlns:a16="http://schemas.microsoft.com/office/drawing/2014/main" id="{7D2D7DAE-B3F6-83DE-DA60-83D802FB1543}"/>
              </a:ext>
            </a:extLst>
          </p:cNvPr>
          <p:cNvSpPr txBox="1"/>
          <p:nvPr/>
        </p:nvSpPr>
        <p:spPr>
          <a:xfrm>
            <a:off x="5793740" y="2598003"/>
            <a:ext cx="6162040" cy="830997"/>
          </a:xfrm>
          <a:prstGeom prst="rect">
            <a:avLst/>
          </a:prstGeom>
          <a:noFill/>
        </p:spPr>
        <p:txBody>
          <a:bodyPr wrap="square">
            <a:spAutoFit/>
          </a:bodyPr>
          <a:lstStyle/>
          <a:p>
            <a:pPr algn="l" eaLnBrk="0" fontAlgn="base" hangingPunct="0">
              <a:spcAft>
                <a:spcPct val="0"/>
              </a:spcAft>
              <a:defRPr/>
            </a:pPr>
            <a:r>
              <a:rPr lang="en-US" sz="2400" b="1" dirty="0">
                <a:solidFill>
                  <a:srgbClr val="304E96"/>
                </a:solidFill>
                <a:latin typeface="Arial" panose="020B0604020202020204" pitchFamily="34" charset="0"/>
                <a:cs typeface="Arial" panose="020B0604020202020204" pitchFamily="34" charset="0"/>
              </a:rPr>
              <a:t>Postal Bulletin: The 2022 Official Election Mail Guide</a:t>
            </a:r>
          </a:p>
        </p:txBody>
      </p:sp>
      <p:sp>
        <p:nvSpPr>
          <p:cNvPr id="36" name="TextBox 35">
            <a:extLst>
              <a:ext uri="{FF2B5EF4-FFF2-40B4-BE49-F238E27FC236}">
                <a16:creationId xmlns:a16="http://schemas.microsoft.com/office/drawing/2014/main" id="{7D8C6D0B-1B55-8C86-7BE4-1FA23199C6FB}"/>
              </a:ext>
            </a:extLst>
          </p:cNvPr>
          <p:cNvSpPr txBox="1"/>
          <p:nvPr/>
        </p:nvSpPr>
        <p:spPr>
          <a:xfrm>
            <a:off x="7215964" y="5748282"/>
            <a:ext cx="3712298" cy="424732"/>
          </a:xfrm>
          <a:prstGeom prst="rect">
            <a:avLst/>
          </a:prstGeom>
          <a:noFill/>
        </p:spPr>
        <p:txBody>
          <a:bodyPr wrap="square">
            <a:spAutoFit/>
          </a:bodyPr>
          <a:lstStyle/>
          <a:p>
            <a:pPr marL="0" lvl="1" indent="-228600" eaLnBrk="0" fontAlgn="base" hangingPunct="0">
              <a:lnSpc>
                <a:spcPct val="90000"/>
              </a:lnSpc>
              <a:spcBef>
                <a:spcPts val="1200"/>
              </a:spcBef>
              <a:spcAft>
                <a:spcPct val="0"/>
              </a:spcAft>
              <a:buClr>
                <a:srgbClr val="000000"/>
              </a:buClr>
              <a:defRPr/>
            </a:pPr>
            <a:r>
              <a:rPr lang="en-US" sz="2400" b="1" dirty="0">
                <a:solidFill>
                  <a:srgbClr val="304E96"/>
                </a:solidFill>
                <a:latin typeface="Arial" panose="020B0604020202020204" pitchFamily="34" charset="0"/>
                <a:cs typeface="Arial" panose="020B0604020202020204" pitchFamily="34" charset="0"/>
              </a:rPr>
              <a:t>USPS.com/</a:t>
            </a:r>
            <a:r>
              <a:rPr lang="en-US" sz="2400" b="1" dirty="0" err="1">
                <a:solidFill>
                  <a:srgbClr val="304E96"/>
                </a:solidFill>
                <a:latin typeface="Arial" panose="020B0604020202020204" pitchFamily="34" charset="0"/>
                <a:cs typeface="Arial" panose="020B0604020202020204" pitchFamily="34" charset="0"/>
              </a:rPr>
              <a:t>electionmail</a:t>
            </a:r>
            <a:endParaRPr lang="en-US" sz="2400" b="1" dirty="0">
              <a:solidFill>
                <a:srgbClr val="304E96"/>
              </a:solidFill>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DC1B3060-9BDF-6322-6000-EAF174F08D88}"/>
              </a:ext>
            </a:extLst>
          </p:cNvPr>
          <p:cNvSpPr>
            <a:spLocks noGrp="1"/>
          </p:cNvSpPr>
          <p:nvPr>
            <p:ph type="sldNum" sz="quarter" idx="12"/>
          </p:nvPr>
        </p:nvSpPr>
        <p:spPr>
          <a:xfrm>
            <a:off x="9448800" y="6492875"/>
            <a:ext cx="2743200" cy="365125"/>
          </a:xfrm>
        </p:spPr>
        <p:txBody>
          <a:bodyPr/>
          <a:lstStyle/>
          <a:p>
            <a:fld id="{D707304A-433C-4B5B-A507-AD407BE4ED27}" type="slidenum">
              <a:rPr lang="en-US" smtClean="0"/>
              <a:pPr/>
              <a:t>24</a:t>
            </a:fld>
            <a:endParaRPr lang="en-US" dirty="0"/>
          </a:p>
        </p:txBody>
      </p:sp>
    </p:spTree>
    <p:extLst>
      <p:ext uri="{BB962C8B-B14F-4D97-AF65-F5344CB8AC3E}">
        <p14:creationId xmlns:p14="http://schemas.microsoft.com/office/powerpoint/2010/main" val="2594777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3186545" y="13252"/>
            <a:ext cx="83958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eaLnBrk="0" fontAlgn="base" hangingPunct="0">
              <a:spcAft>
                <a:spcPct val="0"/>
              </a:spcAft>
              <a:defRPr/>
            </a:pPr>
            <a:r>
              <a:rPr lang="en-US" sz="3200" b="0" dirty="0">
                <a:effectLst/>
                <a:latin typeface="Arial" panose="020B0604020202020204" pitchFamily="34" charset="0"/>
                <a:ea typeface="+mn-ea"/>
                <a:cs typeface="Arial" panose="020B0604020202020204" pitchFamily="34" charset="0"/>
              </a:rPr>
              <a:t>USPS.com/electionmail</a:t>
            </a:r>
          </a:p>
        </p:txBody>
      </p:sp>
      <p:pic>
        <p:nvPicPr>
          <p:cNvPr id="5" name="Picture 4">
            <a:extLst>
              <a:ext uri="{FF2B5EF4-FFF2-40B4-BE49-F238E27FC236}">
                <a16:creationId xmlns:a16="http://schemas.microsoft.com/office/drawing/2014/main" id="{CC520C45-926E-69F6-97B6-9A772B664547}"/>
              </a:ext>
            </a:extLst>
          </p:cNvPr>
          <p:cNvPicPr>
            <a:picLocks noChangeAspect="1"/>
          </p:cNvPicPr>
          <p:nvPr/>
        </p:nvPicPr>
        <p:blipFill>
          <a:blip r:embed="rId3"/>
          <a:stretch>
            <a:fillRect/>
          </a:stretch>
        </p:blipFill>
        <p:spPr>
          <a:xfrm>
            <a:off x="0" y="801658"/>
            <a:ext cx="12192000" cy="5855037"/>
          </a:xfrm>
          <a:prstGeom prst="rect">
            <a:avLst/>
          </a:prstGeom>
        </p:spPr>
      </p:pic>
    </p:spTree>
    <p:extLst>
      <p:ext uri="{BB962C8B-B14F-4D97-AF65-F5344CB8AC3E}">
        <p14:creationId xmlns:p14="http://schemas.microsoft.com/office/powerpoint/2010/main" val="2678942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0" y="783771"/>
            <a:ext cx="12192000" cy="4422213"/>
          </a:xfrm>
        </p:spPr>
        <p:txBody>
          <a:bodyPr>
            <a:normAutofit/>
          </a:bodyPr>
          <a:lstStyle/>
          <a:p>
            <a:pPr marL="0" lvl="1">
              <a:spcBef>
                <a:spcPts val="1200"/>
              </a:spcBef>
              <a:spcAft>
                <a:spcPts val="600"/>
              </a:spcAft>
              <a:buClr>
                <a:srgbClr val="000000"/>
              </a:buClr>
              <a:buNone/>
              <a:defRPr/>
            </a:pPr>
            <a:r>
              <a:rPr lang="en-US" altLang="en-US" sz="32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USPS Point of Contact: </a:t>
            </a:r>
          </a:p>
          <a:p>
            <a:pPr marL="457200" lvl="1" indent="0">
              <a:lnSpc>
                <a:spcPct val="120000"/>
              </a:lnSpc>
              <a:buNone/>
            </a:pPr>
            <a:r>
              <a:rPr lang="en-US" altLang="en-US"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 has designated your District Manager of Customer Relations as a single point of contact for your election mail planning. Your Manager of Customer Relations is supported by local and national Election Mail experts to assist you with questions, issue resolution, </a:t>
            </a:r>
            <a:r>
              <a:rPr lang="en-US" altLang="en-US" dirty="0" err="1">
                <a:solidFill>
                  <a:schemeClr val="accent1">
                    <a:lumMod val="50000"/>
                  </a:schemeClr>
                </a:solidFill>
                <a:latin typeface="Arial" panose="020B0604020202020204" pitchFamily="34" charset="0"/>
                <a:ea typeface="ＭＳ Ｐゴシック" pitchFamily="34" charset="-128"/>
                <a:cs typeface="Arial" panose="020B0604020202020204" pitchFamily="34" charset="0"/>
              </a:rPr>
              <a:t>mailpiece</a:t>
            </a:r>
            <a:r>
              <a:rPr lang="en-US" altLang="en-US"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 design, and other issues. These dedicated postal employees are deeply knowledgeable about and fully committed to the timely delivery of Election Mail.</a:t>
            </a:r>
          </a:p>
          <a:p>
            <a:pPr marL="457200" lvl="1" indent="0">
              <a:lnSpc>
                <a:spcPct val="120000"/>
              </a:lnSpc>
              <a:buNone/>
            </a:pPr>
            <a:endParaRPr lang="en-US" altLang="en-US" sz="32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26</a:t>
            </a:fld>
            <a:endParaRPr lang="en-US"/>
          </a:p>
        </p:txBody>
      </p:sp>
      <p:sp>
        <p:nvSpPr>
          <p:cNvPr id="4" name="Title 1">
            <a:extLst>
              <a:ext uri="{FF2B5EF4-FFF2-40B4-BE49-F238E27FC236}">
                <a16:creationId xmlns:a16="http://schemas.microsoft.com/office/drawing/2014/main" id="{6F1C8D03-BB59-6618-B8CB-EC20253835FD}"/>
              </a:ext>
            </a:extLst>
          </p:cNvPr>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
        <p:nvSpPr>
          <p:cNvPr id="5" name="TextBox 4">
            <a:extLst>
              <a:ext uri="{FF2B5EF4-FFF2-40B4-BE49-F238E27FC236}">
                <a16:creationId xmlns:a16="http://schemas.microsoft.com/office/drawing/2014/main" id="{2D5206E9-B379-E4D8-CEED-AE51A1EFC389}"/>
              </a:ext>
            </a:extLst>
          </p:cNvPr>
          <p:cNvSpPr txBox="1"/>
          <p:nvPr/>
        </p:nvSpPr>
        <p:spPr>
          <a:xfrm>
            <a:off x="0" y="4396490"/>
            <a:ext cx="12192000" cy="2308324"/>
          </a:xfrm>
          <a:prstGeom prst="rect">
            <a:avLst/>
          </a:prstGeom>
          <a:solidFill>
            <a:schemeClr val="tx2"/>
          </a:solidFill>
        </p:spPr>
        <p:txBody>
          <a:bodyPr wrap="square" rtlCol="0" anchor="ctr">
            <a:spAutoFit/>
          </a:bodyPr>
          <a:lstStyle/>
          <a:p>
            <a:pPr marL="0" marR="0" algn="ctr">
              <a:spcBef>
                <a:spcPts val="0"/>
              </a:spcBef>
              <a:spcAft>
                <a:spcPts val="0"/>
              </a:spcAft>
            </a:pP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Indiana District Manager of Customer Relations:</a:t>
            </a:r>
          </a:p>
          <a:p>
            <a:pPr marL="0" marR="0" algn="ctr">
              <a:spcBef>
                <a:spcPts val="0"/>
              </a:spcBef>
              <a:spcAft>
                <a:spcPts val="0"/>
              </a:spcAft>
            </a:pP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Kimberly Pickett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hlinkClick r:id="rId3"/>
              </a:rPr>
              <a:t>kimberly.l.pickett@usps.gov</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317) 870-8545</a:t>
            </a:r>
          </a:p>
          <a:p>
            <a:pPr marL="0" marR="0" algn="ctr">
              <a:spcBef>
                <a:spcPts val="0"/>
              </a:spcBef>
              <a:spcAft>
                <a:spcPts val="0"/>
              </a:spcAft>
            </a:pP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marL="0" marR="0" algn="ctr">
              <a:spcBef>
                <a:spcPts val="0"/>
              </a:spcBef>
              <a:spcAft>
                <a:spcPts val="0"/>
              </a:spcAft>
            </a:pP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Indiana Manager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Business Mail Entry:</a:t>
            </a:r>
          </a:p>
          <a:p>
            <a:pPr algn="ct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Terri Beckham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hlinkClick r:id="rId4"/>
              </a:rPr>
              <a:t>terri.a.beckham@usps.gov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480) 931-0793</a:t>
            </a: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gn="ct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gn="ct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EGMS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Central Field Specialist:</a:t>
            </a:r>
          </a:p>
          <a:p>
            <a:pPr algn="ct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Jerod Siddle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hlinkClick r:id="rId5"/>
              </a:rPr>
              <a:t>Jerod.A.Siddle@usps.gov</a:t>
            </a:r>
            <a:r>
              <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US" sz="1600" b="1" dirty="0">
                <a:solidFill>
                  <a:schemeClr val="bg1"/>
                </a:solidFill>
                <a:latin typeface="Arial" panose="020B0604020202020204" pitchFamily="34" charset="0"/>
                <a:ea typeface="Calibri" panose="020F0502020204030204" pitchFamily="34" charset="0"/>
                <a:cs typeface="Arial" panose="020B0604020202020204" pitchFamily="34" charset="0"/>
              </a:rPr>
              <a:t>(980) 226-7393</a:t>
            </a:r>
          </a:p>
          <a:p>
            <a:pPr algn="ctr"/>
            <a:endParaRPr lang="en-US" sz="16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098259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275" name="Rectangle 5"/>
          <p:cNvSpPr txBox="1">
            <a:spLocks noChangeArrowheads="1"/>
          </p:cNvSpPr>
          <p:nvPr/>
        </p:nvSpPr>
        <p:spPr bwMode="auto">
          <a:xfrm>
            <a:off x="669266" y="651752"/>
            <a:ext cx="11210925" cy="74483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688975" indent="-231775">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marL="0" lvl="1" indent="-228600" algn="ctr">
              <a:lnSpc>
                <a:spcPct val="90000"/>
              </a:lnSpc>
              <a:spcBef>
                <a:spcPct val="0"/>
              </a:spcBef>
              <a:spcAft>
                <a:spcPts val="600"/>
              </a:spcAft>
              <a:buClr>
                <a:srgbClr val="000000"/>
              </a:buClr>
              <a:buSzPct val="100000"/>
              <a:buNone/>
              <a:defRPr/>
            </a:pPr>
            <a:r>
              <a:rPr lang="en-US" altLang="en-US" sz="3200" kern="1200" dirty="0">
                <a:solidFill>
                  <a:schemeClr val="bg1"/>
                </a:solidFill>
                <a:latin typeface="+mj-lt"/>
                <a:ea typeface="+mj-ea"/>
                <a:cs typeface="+mj-cs"/>
              </a:rPr>
              <a:t>Thank </a:t>
            </a:r>
            <a:r>
              <a:rPr lang="en-US" altLang="en-US" sz="3200" dirty="0">
                <a:solidFill>
                  <a:schemeClr val="bg1"/>
                </a:solidFill>
                <a:latin typeface="+mj-lt"/>
                <a:ea typeface="+mj-ea"/>
                <a:cs typeface="+mj-cs"/>
              </a:rPr>
              <a:t>Y</a:t>
            </a:r>
            <a:r>
              <a:rPr lang="en-US" altLang="en-US" sz="3200" kern="1200" dirty="0">
                <a:solidFill>
                  <a:schemeClr val="bg1"/>
                </a:solidFill>
                <a:latin typeface="+mj-lt"/>
                <a:ea typeface="+mj-ea"/>
                <a:cs typeface="+mj-cs"/>
              </a:rPr>
              <a:t>ou for Your Time and Attention!</a:t>
            </a:r>
          </a:p>
        </p:txBody>
      </p:sp>
      <p:pic>
        <p:nvPicPr>
          <p:cNvPr id="3" name="Picture 2" descr="Logo&#10;&#10;Description automatically generated">
            <a:extLst>
              <a:ext uri="{FF2B5EF4-FFF2-40B4-BE49-F238E27FC236}">
                <a16:creationId xmlns:a16="http://schemas.microsoft.com/office/drawing/2014/main" id="{031824E1-E276-4ED4-9E87-9F28BF5DE815}"/>
              </a:ext>
            </a:extLst>
          </p:cNvPr>
          <p:cNvPicPr>
            <a:picLocks noChangeAspect="1"/>
          </p:cNvPicPr>
          <p:nvPr/>
        </p:nvPicPr>
        <p:blipFill>
          <a:blip r:embed="rId3"/>
          <a:stretch>
            <a:fillRect/>
          </a:stretch>
        </p:blipFill>
        <p:spPr>
          <a:xfrm>
            <a:off x="848151" y="1675227"/>
            <a:ext cx="10495697" cy="4394199"/>
          </a:xfrm>
          <a:prstGeom prst="rect">
            <a:avLst/>
          </a:prstGeom>
          <a:ln>
            <a:noFill/>
          </a:ln>
          <a:effectLst/>
        </p:spPr>
      </p:pic>
      <p:sp>
        <p:nvSpPr>
          <p:cNvPr id="54274" name="Rectangle 3"/>
          <p:cNvSpPr txBox="1">
            <a:spLocks noChangeArrowheads="1"/>
          </p:cNvSpPr>
          <p:nvPr/>
        </p:nvSpPr>
        <p:spPr bwMode="auto">
          <a:xfrm>
            <a:off x="2928938" y="1382714"/>
            <a:ext cx="6248400" cy="62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2000" b="1">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Font typeface="Wingdings" panose="05000000000000000000" pitchFamily="2" charset="2"/>
              <a:buChar char="§"/>
              <a:defRPr sz="2000" b="1">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000" b="1">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Font typeface="Webdings" panose="05030102010509060703" pitchFamily="18" charset="2"/>
              <a:buChar char="4"/>
              <a:defRPr sz="2000" b="1">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defRPr sz="2000"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defRPr sz="2000" b="1">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0000"/>
              </a:lnSpc>
              <a:buFontTx/>
              <a:buNone/>
            </a:pPr>
            <a:r>
              <a:rPr lang="en-US" altLang="en-US" dirty="0">
                <a:solidFill>
                  <a:srgbClr val="333399"/>
                </a:solidFill>
                <a:cs typeface="Arial" panose="020B0604020202020204" pitchFamily="34" charset="0"/>
              </a:rPr>
              <a:t>       </a:t>
            </a:r>
            <a:endParaRPr lang="en-US" altLang="en-US" sz="2800" u="sng" dirty="0">
              <a:solidFill>
                <a:srgbClr val="333399"/>
              </a:solidFill>
              <a:cs typeface="Arial" panose="020B0604020202020204" pitchFamily="34" charset="0"/>
            </a:endParaRPr>
          </a:p>
        </p:txBody>
      </p:sp>
    </p:spTree>
    <p:extLst>
      <p:ext uri="{BB962C8B-B14F-4D97-AF65-F5344CB8AC3E}">
        <p14:creationId xmlns:p14="http://schemas.microsoft.com/office/powerpoint/2010/main" val="640217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16834" y="897489"/>
            <a:ext cx="11436626" cy="5947259"/>
          </a:xfrm>
        </p:spPr>
        <p:txBody>
          <a:bodyPr>
            <a:normAutofit/>
          </a:bodyPr>
          <a:lstStyle/>
          <a:p>
            <a:pPr marL="0" lvl="1" indent="-228531" defTabSz="914126" fontAlgn="base">
              <a:lnSpc>
                <a:spcPct val="70000"/>
              </a:lnSpc>
              <a:spcBef>
                <a:spcPts val="1200"/>
              </a:spcBef>
              <a:spcAft>
                <a:spcPts val="600"/>
              </a:spcAft>
              <a:buClr>
                <a:srgbClr val="000000"/>
              </a:buClr>
              <a:buSzPct val="100000"/>
              <a:buNone/>
              <a:defRPr/>
            </a:pPr>
            <a:r>
              <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Service’s Role in the Election Process</a:t>
            </a:r>
          </a:p>
          <a:p>
            <a:pPr marL="0" lvl="1" indent="-228531" defTabSz="914126" fontAlgn="base">
              <a:lnSpc>
                <a:spcPct val="70000"/>
              </a:lnSpc>
              <a:spcBef>
                <a:spcPts val="1200"/>
              </a:spcBef>
              <a:spcAft>
                <a:spcPts val="600"/>
              </a:spcAft>
              <a:buClr>
                <a:srgbClr val="000000"/>
              </a:buClr>
              <a:buSzPct val="100000"/>
              <a:buNone/>
              <a:defRPr/>
            </a:pPr>
            <a:endParaRPr lang="en-US" alt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The Postal </a:t>
            </a:r>
            <a:r>
              <a:rPr lang="en-US" altLang="en-US" sz="2800" dirty="0">
                <a:solidFill>
                  <a:srgbClr val="1F4E79"/>
                </a:solidFill>
                <a:latin typeface="Arial" panose="020B0604020202020204" pitchFamily="34" charset="0"/>
                <a:ea typeface="ＭＳ Ｐゴシック" pitchFamily="34" charset="-128"/>
                <a:cs typeface="Arial" panose="020B0604020202020204" pitchFamily="34" charset="0"/>
              </a:rPr>
              <a:t>Service is </a:t>
            </a:r>
            <a:r>
              <a:rPr lang="en-US" sz="2800" dirty="0">
                <a:solidFill>
                  <a:srgbClr val="1F4E79"/>
                </a:solidFill>
                <a:effectLst/>
                <a:latin typeface="Arial" panose="020B0604020202020204" pitchFamily="34" charset="0"/>
                <a:ea typeface="Calibri" panose="020F0502020204030204" pitchFamily="34" charset="0"/>
              </a:rPr>
              <a:t>committed to fulfilling our role in the electoral process and we </a:t>
            </a: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provide a secure, efficient and effective way for citizens to participate when policymakers decide to use mail as part of their elections. The Postal Service has a robust and tested process for proper handling and timely delivery of Election Mail. </a:t>
            </a:r>
          </a:p>
          <a:p>
            <a:pPr marL="457200" lvl="1" indent="0">
              <a:buNone/>
            </a:pPr>
            <a:endPar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a:p>
            <a:pPr marL="457200" lvl="1" indent="0">
              <a:buNone/>
            </a:pPr>
            <a:r>
              <a:rPr lang="en-US" altLang="en-US" sz="2800"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Every federal election cycle, we make efforts across the nation to inform local and state election officials about mailing procedures, our operational standards, and our recommended best practices for utilizing the mail.</a:t>
            </a:r>
          </a:p>
          <a:p>
            <a:pPr marL="457200" lvl="1" indent="0">
              <a:buNone/>
            </a:pPr>
            <a:endParaRPr lang="en-US" altLang="en-US"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endParaRPr>
          </a:p>
        </p:txBody>
      </p:sp>
      <p:sp>
        <p:nvSpPr>
          <p:cNvPr id="2" name="Slide Number Placeholder 1"/>
          <p:cNvSpPr>
            <a:spLocks noGrp="1"/>
          </p:cNvSpPr>
          <p:nvPr>
            <p:ph type="sldNum" sz="quarter" idx="12"/>
          </p:nvPr>
        </p:nvSpPr>
        <p:spPr>
          <a:xfrm>
            <a:off x="9448800" y="6492875"/>
            <a:ext cx="2743200" cy="365125"/>
          </a:xfrm>
        </p:spPr>
        <p:txBody>
          <a:bodyPr/>
          <a:lstStyle/>
          <a:p>
            <a:fld id="{D707304A-433C-4B5B-A507-AD407BE4ED27}" type="slidenum">
              <a:rPr lang="en-US" smtClean="0"/>
              <a:pPr/>
              <a:t>3</a:t>
            </a:fld>
            <a:endParaRPr lang="en-US"/>
          </a:p>
        </p:txBody>
      </p:sp>
      <p:sp>
        <p:nvSpPr>
          <p:cNvPr id="5" name="Title 1"/>
          <p:cNvSpPr txBox="1">
            <a:spLocks/>
          </p:cNvSpPr>
          <p:nvPr/>
        </p:nvSpPr>
        <p:spPr>
          <a:xfrm>
            <a:off x="3646583" y="13252"/>
            <a:ext cx="790037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8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lvl="1" indent="-228600" algn="r" fontAlgn="base">
              <a:lnSpc>
                <a:spcPct val="90000"/>
              </a:lnSpc>
              <a:spcBef>
                <a:spcPts val="1200"/>
              </a:spcBef>
              <a:spcAft>
                <a:spcPts val="600"/>
              </a:spcAft>
              <a:buClr>
                <a:srgbClr val="000000"/>
              </a:buClr>
              <a:defRPr/>
            </a:pPr>
            <a:r>
              <a:rPr lang="en-US" altLang="en-US" sz="2800" b="1" dirty="0">
                <a:solidFill>
                  <a:srgbClr val="304E96"/>
                </a:solidFill>
                <a:latin typeface="Arial"/>
                <a:cs typeface="Arial"/>
              </a:rPr>
              <a:t>2023 Election Mail Planning</a:t>
            </a:r>
          </a:p>
        </p:txBody>
      </p:sp>
    </p:spTree>
    <p:extLst>
      <p:ext uri="{BB962C8B-B14F-4D97-AF65-F5344CB8AC3E}">
        <p14:creationId xmlns:p14="http://schemas.microsoft.com/office/powerpoint/2010/main" val="635178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348896FB-F48D-B2FB-ADAB-400D114D7A5B}"/>
              </a:ext>
            </a:extLst>
          </p:cNvPr>
          <p:cNvSpPr txBox="1">
            <a:spLocks/>
          </p:cNvSpPr>
          <p:nvPr/>
        </p:nvSpPr>
        <p:spPr>
          <a:xfrm>
            <a:off x="4271059" y="52381"/>
            <a:ext cx="7340568" cy="687602"/>
          </a:xfrm>
          <a:prstGeom prst="rect">
            <a:avLst/>
          </a:prstGeom>
        </p:spPr>
        <p:txBody>
          <a:bodyPr vert="horz" lIns="91320" tIns="45660" rIns="91320" bIns="4566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228600" marR="0" lvl="1" algn="r">
              <a:spcBef>
                <a:spcPts val="1000"/>
              </a:spcBef>
              <a:spcAft>
                <a:spcPts val="0"/>
              </a:spcAft>
            </a:pPr>
            <a:r>
              <a:rPr lang="en-US" sz="2800" b="1" dirty="0">
                <a:solidFill>
                  <a:schemeClr val="accent1">
                    <a:lumMod val="50000"/>
                  </a:schemeClr>
                </a:solidFill>
                <a:latin typeface="Arial" panose="020B0604020202020204" pitchFamily="34" charset="0"/>
                <a:ea typeface="ＭＳ Ｐゴシック" pitchFamily="34" charset="-128"/>
                <a:cs typeface="Arial" panose="020B0604020202020204" pitchFamily="34" charset="0"/>
              </a:rPr>
              <a:t>2022 Election Cycle Recap/Highlights</a:t>
            </a:r>
          </a:p>
        </p:txBody>
      </p:sp>
      <p:pic>
        <p:nvPicPr>
          <p:cNvPr id="3" name="Picture 4" descr="A picture containing company name&#10;&#10;Description automatically generated">
            <a:extLst>
              <a:ext uri="{FF2B5EF4-FFF2-40B4-BE49-F238E27FC236}">
                <a16:creationId xmlns:a16="http://schemas.microsoft.com/office/drawing/2014/main" id="{9A57008A-6392-6C6E-A54D-C58834C5D952}"/>
              </a:ext>
            </a:extLst>
          </p:cNvPr>
          <p:cNvPicPr>
            <a:picLocks noChangeAspect="1"/>
          </p:cNvPicPr>
          <p:nvPr/>
        </p:nvPicPr>
        <p:blipFill>
          <a:blip r:embed="rId3"/>
          <a:stretch>
            <a:fillRect/>
          </a:stretch>
        </p:blipFill>
        <p:spPr>
          <a:xfrm>
            <a:off x="591247" y="739984"/>
            <a:ext cx="3980753" cy="5312220"/>
          </a:xfrm>
          <a:prstGeom prst="rect">
            <a:avLst/>
          </a:prstGeom>
        </p:spPr>
      </p:pic>
      <p:sp>
        <p:nvSpPr>
          <p:cNvPr id="6" name="TextBox 5">
            <a:extLst>
              <a:ext uri="{FF2B5EF4-FFF2-40B4-BE49-F238E27FC236}">
                <a16:creationId xmlns:a16="http://schemas.microsoft.com/office/drawing/2014/main" id="{EFADAEDF-5C92-BA2D-4033-DA3E3A640407}"/>
              </a:ext>
            </a:extLst>
          </p:cNvPr>
          <p:cNvSpPr txBox="1"/>
          <p:nvPr/>
        </p:nvSpPr>
        <p:spPr>
          <a:xfrm>
            <a:off x="6096000" y="1153678"/>
            <a:ext cx="5504753" cy="4759957"/>
          </a:xfrm>
          <a:prstGeom prst="rect">
            <a:avLst/>
          </a:prstGeom>
          <a:noFill/>
        </p:spPr>
        <p:txBody>
          <a:bodyPr wrap="square">
            <a:spAutoFit/>
          </a:bodyPr>
          <a:lstStyle/>
          <a:p>
            <a:pPr marL="457200" marR="0">
              <a:lnSpc>
                <a:spcPct val="107000"/>
              </a:lnSpc>
              <a:spcBef>
                <a:spcPts val="0"/>
              </a:spcBef>
              <a:spcAft>
                <a:spcPts val="800"/>
              </a:spcAft>
            </a:pPr>
            <a:r>
              <a:rPr lang="en-US" sz="2000" dirty="0">
                <a:effectLst/>
                <a:latin typeface="Arial" panose="020B0604020202020204" pitchFamily="34" charset="0"/>
                <a:ea typeface="Calibri" panose="020F0502020204030204" pitchFamily="34" charset="0"/>
                <a:cs typeface="Arial" panose="020B0604020202020204" pitchFamily="34" charset="0"/>
              </a:rPr>
              <a:t>Thank you for your partnership in the 2022 midterm elections as the United States Postal Service’s executed its role in the vote-by-mail process.   </a:t>
            </a:r>
          </a:p>
          <a:p>
            <a:pPr marL="457200" marR="0">
              <a:lnSpc>
                <a:spcPct val="107000"/>
              </a:lnSpc>
              <a:spcBef>
                <a:spcPts val="0"/>
              </a:spcBef>
              <a:spcAft>
                <a:spcPts val="800"/>
              </a:spcAft>
            </a:pPr>
            <a:endParaRPr lang="en-US" sz="2000" dirty="0">
              <a:latin typeface="Arial" panose="020B06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r>
              <a:rPr lang="en-US" sz="2000" dirty="0">
                <a:effectLst/>
                <a:latin typeface="Arial" panose="020B0604020202020204" pitchFamily="34" charset="0"/>
                <a:ea typeface="Calibri" panose="020F0502020204030204" pitchFamily="34" charset="0"/>
                <a:cs typeface="Arial" panose="020B0604020202020204" pitchFamily="34" charset="0"/>
              </a:rPr>
              <a:t>Monday, January 9, 2023, we released our </a:t>
            </a:r>
            <a:r>
              <a:rPr lang="en-US" sz="2000" b="1"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4"/>
              </a:rPr>
              <a:t>2022 Post-Election Analysis Report</a:t>
            </a:r>
            <a:r>
              <a:rPr lang="en-US" sz="2000" b="1" dirty="0">
                <a:effectLst/>
                <a:latin typeface="Arial" panose="020B0604020202020204" pitchFamily="34" charset="0"/>
                <a:ea typeface="Calibri" panose="020F0502020204030204" pitchFamily="34" charset="0"/>
                <a:cs typeface="Arial" panose="020B0604020202020204" pitchFamily="34" charset="0"/>
              </a:rPr>
              <a:t>.</a:t>
            </a:r>
            <a:r>
              <a:rPr lang="en-US" sz="2000" dirty="0">
                <a:effectLst/>
                <a:latin typeface="Arial" panose="020B0604020202020204" pitchFamily="34" charset="0"/>
                <a:ea typeface="Calibri" panose="020F0502020204030204" pitchFamily="34" charset="0"/>
                <a:cs typeface="Arial" panose="020B0604020202020204" pitchFamily="34" charset="0"/>
              </a:rPr>
              <a:t> The final performance numbers for the 2022 election cycle show that the Postal Service once again performed strongly in delivering the nation’s election mail. </a:t>
            </a:r>
          </a:p>
          <a:p>
            <a:pPr marL="457200" marR="0">
              <a:lnSpc>
                <a:spcPct val="107000"/>
              </a:lnSpc>
              <a:spcBef>
                <a:spcPts val="0"/>
              </a:spcBef>
              <a:spcAft>
                <a:spcPts val="800"/>
              </a:spcAft>
            </a:pPr>
            <a:endParaRPr lang="en-US" sz="2000" dirty="0">
              <a:latin typeface="Arial" panose="020B06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endParaRPr lang="en-US" sz="20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3069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135402" y="63125"/>
            <a:ext cx="11412164" cy="687781"/>
          </a:xfrm>
          <a:prstGeom prst="rect">
            <a:avLst/>
          </a:prstGeom>
        </p:spPr>
        <p:txBody>
          <a:bodyPr vert="horz" lIns="91344" tIns="45672" rIns="91344" bIns="45672"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r>
              <a:rPr lang="en-US" sz="2400" dirty="0">
                <a:effectLst/>
                <a:latin typeface="Arial" panose="020B0604020202020204" pitchFamily="34" charset="0"/>
                <a:cs typeface="Arial" panose="020B0604020202020204" pitchFamily="34" charset="0"/>
              </a:rPr>
              <a:t>Election &amp; Government Mail Services</a:t>
            </a:r>
          </a:p>
        </p:txBody>
      </p:sp>
      <p:sp>
        <p:nvSpPr>
          <p:cNvPr id="49" name="Rectangle 48">
            <a:extLst>
              <a:ext uri="{FF2B5EF4-FFF2-40B4-BE49-F238E27FC236}">
                <a16:creationId xmlns:a16="http://schemas.microsoft.com/office/drawing/2014/main" id="{B12D6D4D-C452-4617-9FC4-9C37E2B0474A}"/>
              </a:ext>
            </a:extLst>
          </p:cNvPr>
          <p:cNvSpPr/>
          <p:nvPr/>
        </p:nvSpPr>
        <p:spPr>
          <a:xfrm>
            <a:off x="1019801" y="1213006"/>
            <a:ext cx="1590357" cy="2401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913" dirty="0">
              <a:solidFill>
                <a:prstClr val="white"/>
              </a:solidFill>
              <a:latin typeface="Arial" panose="020B0604020202020204"/>
            </a:endParaRPr>
          </a:p>
        </p:txBody>
      </p:sp>
      <p:sp>
        <p:nvSpPr>
          <p:cNvPr id="50" name="Rectangle 49">
            <a:extLst>
              <a:ext uri="{FF2B5EF4-FFF2-40B4-BE49-F238E27FC236}">
                <a16:creationId xmlns:a16="http://schemas.microsoft.com/office/drawing/2014/main" id="{07F26280-C444-4362-8B62-CBB11A440BC5}"/>
              </a:ext>
            </a:extLst>
          </p:cNvPr>
          <p:cNvSpPr/>
          <p:nvPr/>
        </p:nvSpPr>
        <p:spPr>
          <a:xfrm>
            <a:off x="4791281" y="1213007"/>
            <a:ext cx="2616010" cy="1817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913" dirty="0">
              <a:solidFill>
                <a:prstClr val="white"/>
              </a:solidFill>
              <a:latin typeface="Arial" panose="020B0604020202020204"/>
            </a:endParaRPr>
          </a:p>
        </p:txBody>
      </p:sp>
      <p:graphicFrame>
        <p:nvGraphicFramePr>
          <p:cNvPr id="4" name="Diagram 3">
            <a:extLst>
              <a:ext uri="{FF2B5EF4-FFF2-40B4-BE49-F238E27FC236}">
                <a16:creationId xmlns:a16="http://schemas.microsoft.com/office/drawing/2014/main" id="{6D168A98-7122-478B-A6D3-49C1C9B2BD02}"/>
              </a:ext>
            </a:extLst>
          </p:cNvPr>
          <p:cNvGraphicFramePr/>
          <p:nvPr>
            <p:extLst>
              <p:ext uri="{D42A27DB-BD31-4B8C-83A1-F6EECF244321}">
                <p14:modId xmlns:p14="http://schemas.microsoft.com/office/powerpoint/2010/main" val="1991697482"/>
              </p:ext>
            </p:extLst>
          </p:nvPr>
        </p:nvGraphicFramePr>
        <p:xfrm>
          <a:off x="268718" y="598099"/>
          <a:ext cx="11540795" cy="54210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7" name="TextBox 226">
            <a:extLst>
              <a:ext uri="{FF2B5EF4-FFF2-40B4-BE49-F238E27FC236}">
                <a16:creationId xmlns:a16="http://schemas.microsoft.com/office/drawing/2014/main" id="{BF8878F2-9E83-4795-8435-6DBFC7C39153}"/>
              </a:ext>
            </a:extLst>
          </p:cNvPr>
          <p:cNvSpPr txBox="1"/>
          <p:nvPr/>
        </p:nvSpPr>
        <p:spPr>
          <a:xfrm>
            <a:off x="2836706"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ATLANTIC AREA &amp; PROCESSING DIVISIONS</a:t>
            </a:r>
          </a:p>
        </p:txBody>
      </p:sp>
      <p:sp>
        <p:nvSpPr>
          <p:cNvPr id="228" name="TextBox 227">
            <a:extLst>
              <a:ext uri="{FF2B5EF4-FFF2-40B4-BE49-F238E27FC236}">
                <a16:creationId xmlns:a16="http://schemas.microsoft.com/office/drawing/2014/main" id="{238FFA71-6630-42CE-9245-84A0E43007FA}"/>
              </a:ext>
            </a:extLst>
          </p:cNvPr>
          <p:cNvSpPr txBox="1"/>
          <p:nvPr/>
        </p:nvSpPr>
        <p:spPr>
          <a:xfrm>
            <a:off x="5156418"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CENTRAL AREA &amp; PROCESSING DIVISIONS</a:t>
            </a:r>
          </a:p>
        </p:txBody>
      </p:sp>
      <p:sp>
        <p:nvSpPr>
          <p:cNvPr id="229" name="TextBox 228">
            <a:extLst>
              <a:ext uri="{FF2B5EF4-FFF2-40B4-BE49-F238E27FC236}">
                <a16:creationId xmlns:a16="http://schemas.microsoft.com/office/drawing/2014/main" id="{8387D376-8AE6-4805-A71C-E8C1FE612129}"/>
              </a:ext>
            </a:extLst>
          </p:cNvPr>
          <p:cNvSpPr txBox="1"/>
          <p:nvPr/>
        </p:nvSpPr>
        <p:spPr>
          <a:xfrm>
            <a:off x="9616325"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WESTPAC AREA &amp; PROCESSING DIVISIONS</a:t>
            </a:r>
          </a:p>
        </p:txBody>
      </p:sp>
      <p:sp>
        <p:nvSpPr>
          <p:cNvPr id="230" name="TextBox 229">
            <a:extLst>
              <a:ext uri="{FF2B5EF4-FFF2-40B4-BE49-F238E27FC236}">
                <a16:creationId xmlns:a16="http://schemas.microsoft.com/office/drawing/2014/main" id="{85F7F565-2E15-41C2-9EDE-104EC00D31F6}"/>
              </a:ext>
            </a:extLst>
          </p:cNvPr>
          <p:cNvSpPr txBox="1"/>
          <p:nvPr/>
        </p:nvSpPr>
        <p:spPr>
          <a:xfrm>
            <a:off x="7429497" y="2789182"/>
            <a:ext cx="1672498" cy="374650"/>
          </a:xfrm>
          <a:prstGeom prst="rect">
            <a:avLst/>
          </a:prstGeom>
          <a:noFill/>
          <a:ln>
            <a:solidFill>
              <a:schemeClr val="tx1"/>
            </a:solidFill>
          </a:ln>
        </p:spPr>
        <p:txBody>
          <a:bodyPr wrap="square" rtlCol="0">
            <a:spAutoFit/>
          </a:bodyPr>
          <a:lstStyle/>
          <a:p>
            <a:pPr algn="ctr"/>
            <a:r>
              <a:rPr lang="en-US" sz="918" dirty="0">
                <a:solidFill>
                  <a:prstClr val="black"/>
                </a:solidFill>
                <a:latin typeface="Arial" panose="020B0604020202020204"/>
              </a:rPr>
              <a:t>SOUTHERN AREA &amp; PROCESSING DIVISIONS</a:t>
            </a:r>
          </a:p>
        </p:txBody>
      </p:sp>
    </p:spTree>
    <p:extLst>
      <p:ext uri="{BB962C8B-B14F-4D97-AF65-F5344CB8AC3E}">
        <p14:creationId xmlns:p14="http://schemas.microsoft.com/office/powerpoint/2010/main" val="369082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2981616" y="0"/>
            <a:ext cx="9005455" cy="688497"/>
          </a:xfrm>
          <a:prstGeom prst="rect">
            <a:avLst/>
          </a:prstGeom>
        </p:spPr>
        <p:txBody>
          <a:bodyPr vert="horz" lIns="91440" tIns="45720" rIns="91440" bIns="45720"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defTabSz="913852"/>
            <a:r>
              <a:rPr lang="en-US" sz="2398" dirty="0">
                <a:effectLst/>
                <a:latin typeface="Arial"/>
                <a:cs typeface="Arial"/>
              </a:rPr>
              <a:t>Election Mail Outreach Teams</a:t>
            </a:r>
          </a:p>
        </p:txBody>
      </p:sp>
      <p:sp>
        <p:nvSpPr>
          <p:cNvPr id="20" name="Slide Number Placeholder 19"/>
          <p:cNvSpPr>
            <a:spLocks noGrp="1"/>
          </p:cNvSpPr>
          <p:nvPr>
            <p:ph type="sldNum" sz="quarter" idx="12"/>
          </p:nvPr>
        </p:nvSpPr>
        <p:spPr/>
        <p:txBody>
          <a:bodyPr/>
          <a:lstStyle/>
          <a:p>
            <a:fld id="{D707304A-433C-4B5B-A507-AD407BE4ED27}" type="slidenum">
              <a:rPr lang="en-US" smtClean="0">
                <a:solidFill>
                  <a:prstClr val="white">
                    <a:lumMod val="50000"/>
                  </a:prstClr>
                </a:solidFill>
              </a:rPr>
              <a:pPr/>
              <a:t>6</a:t>
            </a:fld>
            <a:endParaRPr lang="en-US">
              <a:solidFill>
                <a:prstClr val="white">
                  <a:lumMod val="50000"/>
                </a:prstClr>
              </a:solidFill>
            </a:endParaRPr>
          </a:p>
        </p:txBody>
      </p:sp>
      <p:sp>
        <p:nvSpPr>
          <p:cNvPr id="6" name="TextBox 5"/>
          <p:cNvSpPr txBox="1"/>
          <p:nvPr/>
        </p:nvSpPr>
        <p:spPr>
          <a:xfrm>
            <a:off x="276447" y="898818"/>
            <a:ext cx="7098714" cy="5632311"/>
          </a:xfrm>
          <a:prstGeom prst="rect">
            <a:avLst/>
          </a:prstGeom>
          <a:noFill/>
        </p:spPr>
        <p:txBody>
          <a:bodyPr wrap="square" rtlCol="0">
            <a:spAutoFit/>
          </a:bodyPr>
          <a:lstStyle/>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4 Area Election Mail Field Specialist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Area leadership to promote HQ Election Mail policies with field operations</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4 Area Directors of Customers Relation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Area leadership and senior point of contact to election officials </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50 Managers of Customer Relations at the District level</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Primary point of contact for the District with Election Officials</a:t>
            </a:r>
          </a:p>
          <a:p>
            <a:pPr marL="690563" indent="-350838">
              <a:buFont typeface="Arial" panose="020B0604020202020204" pitchFamily="34" charset="0"/>
              <a:buChar char="•"/>
            </a:pPr>
            <a:r>
              <a:rPr lang="en-US" sz="2400" b="1" dirty="0">
                <a:solidFill>
                  <a:prstClr val="black"/>
                </a:solidFill>
                <a:latin typeface="Arial" panose="020B0604020202020204" pitchFamily="34" charset="0"/>
                <a:cs typeface="Arial" panose="020B0604020202020204" pitchFamily="34" charset="0"/>
              </a:rPr>
              <a:t>District Election Mail Strike Teams</a:t>
            </a:r>
          </a:p>
          <a:p>
            <a:pPr marL="1147763" lvl="1" indent="-350838">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Cross-functional support to ensure the timely processing and delivery of Election Mail, and address and resolve mailing issues</a:t>
            </a:r>
          </a:p>
        </p:txBody>
      </p:sp>
      <p:sp>
        <p:nvSpPr>
          <p:cNvPr id="8" name="Freeform: Shape 7">
            <a:extLst>
              <a:ext uri="{FF2B5EF4-FFF2-40B4-BE49-F238E27FC236}">
                <a16:creationId xmlns:a16="http://schemas.microsoft.com/office/drawing/2014/main" id="{83DE0397-D3BF-47E9-88C2-4F502D24A6CB}"/>
              </a:ext>
            </a:extLst>
          </p:cNvPr>
          <p:cNvSpPr/>
          <p:nvPr/>
        </p:nvSpPr>
        <p:spPr>
          <a:xfrm>
            <a:off x="8451961" y="3384499"/>
            <a:ext cx="1640761" cy="97886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4 Area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rector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ustomer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lations</a:t>
            </a:r>
          </a:p>
        </p:txBody>
      </p:sp>
      <p:sp>
        <p:nvSpPr>
          <p:cNvPr id="9" name="Freeform: Shape 8">
            <a:extLst>
              <a:ext uri="{FF2B5EF4-FFF2-40B4-BE49-F238E27FC236}">
                <a16:creationId xmlns:a16="http://schemas.microsoft.com/office/drawing/2014/main" id="{47CCA448-FEAF-4E70-B6D1-0B4631DD9CC6}"/>
              </a:ext>
            </a:extLst>
          </p:cNvPr>
          <p:cNvSpPr/>
          <p:nvPr/>
        </p:nvSpPr>
        <p:spPr>
          <a:xfrm>
            <a:off x="8451961" y="4575474"/>
            <a:ext cx="1640761" cy="1006017"/>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50 District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Manager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ustomer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lations</a:t>
            </a:r>
          </a:p>
        </p:txBody>
      </p:sp>
      <p:sp>
        <p:nvSpPr>
          <p:cNvPr id="10" name="Freeform: Shape 9">
            <a:extLst>
              <a:ext uri="{FF2B5EF4-FFF2-40B4-BE49-F238E27FC236}">
                <a16:creationId xmlns:a16="http://schemas.microsoft.com/office/drawing/2014/main" id="{8B61DED0-1F11-4BCE-BF15-7B65CD02384B}"/>
              </a:ext>
            </a:extLst>
          </p:cNvPr>
          <p:cNvSpPr/>
          <p:nvPr/>
        </p:nvSpPr>
        <p:spPr>
          <a:xfrm>
            <a:off x="10587112" y="4552517"/>
            <a:ext cx="1328441" cy="1009770"/>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strict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Strike Teams</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Cros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Functional)</a:t>
            </a:r>
          </a:p>
        </p:txBody>
      </p:sp>
      <p:sp>
        <p:nvSpPr>
          <p:cNvPr id="11" name="Freeform: Shape 10">
            <a:extLst>
              <a:ext uri="{FF2B5EF4-FFF2-40B4-BE49-F238E27FC236}">
                <a16:creationId xmlns:a16="http://schemas.microsoft.com/office/drawing/2014/main" id="{FE1C14E9-3CF5-4FC6-949D-343B4AB77385}"/>
              </a:ext>
            </a:extLst>
          </p:cNvPr>
          <p:cNvSpPr/>
          <p:nvPr/>
        </p:nvSpPr>
        <p:spPr>
          <a:xfrm>
            <a:off x="7259446" y="2291800"/>
            <a:ext cx="1404856" cy="89526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4 Area VP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tail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amp; Delivery</a:t>
            </a:r>
          </a:p>
        </p:txBody>
      </p:sp>
      <p:sp>
        <p:nvSpPr>
          <p:cNvPr id="12" name="Freeform: Shape 11">
            <a:extLst>
              <a:ext uri="{FF2B5EF4-FFF2-40B4-BE49-F238E27FC236}">
                <a16:creationId xmlns:a16="http://schemas.microsoft.com/office/drawing/2014/main" id="{45D40205-3589-451E-BB9C-96110B9F9101}"/>
              </a:ext>
            </a:extLst>
          </p:cNvPr>
          <p:cNvSpPr/>
          <p:nvPr/>
        </p:nvSpPr>
        <p:spPr>
          <a:xfrm>
            <a:off x="10448779" y="2315374"/>
            <a:ext cx="1466774" cy="786688"/>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2 Processing &amp;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Maintenance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Regions</a:t>
            </a:r>
          </a:p>
        </p:txBody>
      </p:sp>
      <p:cxnSp>
        <p:nvCxnSpPr>
          <p:cNvPr id="13" name="Straight Connector 12">
            <a:extLst>
              <a:ext uri="{FF2B5EF4-FFF2-40B4-BE49-F238E27FC236}">
                <a16:creationId xmlns:a16="http://schemas.microsoft.com/office/drawing/2014/main" id="{B40DB198-9C2B-4989-B212-EA042985E106}"/>
              </a:ext>
            </a:extLst>
          </p:cNvPr>
          <p:cNvCxnSpPr>
            <a:cxnSpLocks/>
          </p:cNvCxnSpPr>
          <p:nvPr/>
        </p:nvCxnSpPr>
        <p:spPr>
          <a:xfrm>
            <a:off x="9324975" y="2197655"/>
            <a:ext cx="14878" cy="1141235"/>
          </a:xfrm>
          <a:prstGeom prst="line">
            <a:avLst/>
          </a:prstGeom>
          <a:noFill/>
          <a:ln w="6350" cap="flat" cmpd="sng" algn="ctr">
            <a:solidFill>
              <a:srgbClr val="5B9BD5"/>
            </a:solidFill>
            <a:prstDash val="solid"/>
            <a:miter lim="800000"/>
          </a:ln>
          <a:effectLst/>
        </p:spPr>
      </p:cxnSp>
      <p:sp>
        <p:nvSpPr>
          <p:cNvPr id="14" name="Freeform: Shape 13">
            <a:extLst>
              <a:ext uri="{FF2B5EF4-FFF2-40B4-BE49-F238E27FC236}">
                <a16:creationId xmlns:a16="http://schemas.microsoft.com/office/drawing/2014/main" id="{F4AE314B-B7F1-4003-AFEA-1022F1F98E70}"/>
              </a:ext>
            </a:extLst>
          </p:cNvPr>
          <p:cNvSpPr/>
          <p:nvPr/>
        </p:nvSpPr>
        <p:spPr>
          <a:xfrm>
            <a:off x="10410788" y="1309802"/>
            <a:ext cx="1640761" cy="88785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HQ Cros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Functional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Election Team</a:t>
            </a:r>
          </a:p>
        </p:txBody>
      </p:sp>
      <p:cxnSp>
        <p:nvCxnSpPr>
          <p:cNvPr id="15" name="Straight Connector 14">
            <a:extLst>
              <a:ext uri="{FF2B5EF4-FFF2-40B4-BE49-F238E27FC236}">
                <a16:creationId xmlns:a16="http://schemas.microsoft.com/office/drawing/2014/main" id="{3C554672-4AF0-4A41-A4E2-A0F53C12026A}"/>
              </a:ext>
            </a:extLst>
          </p:cNvPr>
          <p:cNvCxnSpPr>
            <a:cxnSpLocks/>
          </p:cNvCxnSpPr>
          <p:nvPr/>
        </p:nvCxnSpPr>
        <p:spPr>
          <a:xfrm>
            <a:off x="9272341" y="4346687"/>
            <a:ext cx="1" cy="211428"/>
          </a:xfrm>
          <a:prstGeom prst="line">
            <a:avLst/>
          </a:prstGeom>
          <a:noFill/>
          <a:ln w="6350" cap="flat" cmpd="sng" algn="ctr">
            <a:solidFill>
              <a:srgbClr val="5B9BD5"/>
            </a:solidFill>
            <a:prstDash val="solid"/>
            <a:miter lim="800000"/>
          </a:ln>
          <a:effectLst/>
        </p:spPr>
      </p:cxnSp>
      <p:cxnSp>
        <p:nvCxnSpPr>
          <p:cNvPr id="16" name="Straight Connector 15">
            <a:extLst>
              <a:ext uri="{FF2B5EF4-FFF2-40B4-BE49-F238E27FC236}">
                <a16:creationId xmlns:a16="http://schemas.microsoft.com/office/drawing/2014/main" id="{35A8FD63-AB99-4A37-9E82-EF03EA7DD36A}"/>
              </a:ext>
            </a:extLst>
          </p:cNvPr>
          <p:cNvCxnSpPr>
            <a:cxnSpLocks/>
          </p:cNvCxnSpPr>
          <p:nvPr/>
        </p:nvCxnSpPr>
        <p:spPr>
          <a:xfrm>
            <a:off x="9726200" y="2216308"/>
            <a:ext cx="0" cy="492410"/>
          </a:xfrm>
          <a:prstGeom prst="line">
            <a:avLst/>
          </a:prstGeom>
          <a:noFill/>
          <a:ln w="6350" cap="flat" cmpd="sng" algn="ctr">
            <a:solidFill>
              <a:srgbClr val="5B9BD5"/>
            </a:solidFill>
            <a:prstDash val="solid"/>
            <a:miter lim="800000"/>
          </a:ln>
          <a:effectLst/>
        </p:spPr>
      </p:cxnSp>
      <p:cxnSp>
        <p:nvCxnSpPr>
          <p:cNvPr id="17" name="Straight Connector 16">
            <a:extLst>
              <a:ext uri="{FF2B5EF4-FFF2-40B4-BE49-F238E27FC236}">
                <a16:creationId xmlns:a16="http://schemas.microsoft.com/office/drawing/2014/main" id="{6EB781C0-4302-40B6-96F6-DAD4CEA8A690}"/>
              </a:ext>
            </a:extLst>
          </p:cNvPr>
          <p:cNvCxnSpPr>
            <a:cxnSpLocks/>
          </p:cNvCxnSpPr>
          <p:nvPr/>
        </p:nvCxnSpPr>
        <p:spPr>
          <a:xfrm>
            <a:off x="8664302" y="2714880"/>
            <a:ext cx="386347" cy="9697"/>
          </a:xfrm>
          <a:prstGeom prst="line">
            <a:avLst/>
          </a:prstGeom>
          <a:noFill/>
          <a:ln w="6350" cap="flat" cmpd="sng" algn="ctr">
            <a:solidFill>
              <a:srgbClr val="5B9BD5"/>
            </a:solidFill>
            <a:prstDash val="solid"/>
            <a:miter lim="800000"/>
          </a:ln>
          <a:effectLst/>
        </p:spPr>
      </p:cxnSp>
      <p:cxnSp>
        <p:nvCxnSpPr>
          <p:cNvPr id="18" name="Straight Connector 17">
            <a:extLst>
              <a:ext uri="{FF2B5EF4-FFF2-40B4-BE49-F238E27FC236}">
                <a16:creationId xmlns:a16="http://schemas.microsoft.com/office/drawing/2014/main" id="{3C06CC25-166F-4F8F-8013-CDB55737B7F8}"/>
              </a:ext>
            </a:extLst>
          </p:cNvPr>
          <p:cNvCxnSpPr>
            <a:cxnSpLocks/>
          </p:cNvCxnSpPr>
          <p:nvPr/>
        </p:nvCxnSpPr>
        <p:spPr>
          <a:xfrm flipV="1">
            <a:off x="9726200" y="2694802"/>
            <a:ext cx="706086" cy="13916"/>
          </a:xfrm>
          <a:prstGeom prst="line">
            <a:avLst/>
          </a:prstGeom>
          <a:noFill/>
          <a:ln w="6350" cap="flat" cmpd="sng" algn="ctr">
            <a:solidFill>
              <a:srgbClr val="5B9BD5"/>
            </a:solidFill>
            <a:prstDash val="solid"/>
            <a:miter lim="800000"/>
          </a:ln>
          <a:effectLst/>
        </p:spPr>
      </p:cxnSp>
      <p:cxnSp>
        <p:nvCxnSpPr>
          <p:cNvPr id="22" name="Straight Connector 21">
            <a:extLst>
              <a:ext uri="{FF2B5EF4-FFF2-40B4-BE49-F238E27FC236}">
                <a16:creationId xmlns:a16="http://schemas.microsoft.com/office/drawing/2014/main" id="{48EB15CA-FD02-411B-9A4D-6FDBC09D6C8D}"/>
              </a:ext>
            </a:extLst>
          </p:cNvPr>
          <p:cNvCxnSpPr>
            <a:cxnSpLocks/>
          </p:cNvCxnSpPr>
          <p:nvPr/>
        </p:nvCxnSpPr>
        <p:spPr>
          <a:xfrm>
            <a:off x="9050649" y="2216308"/>
            <a:ext cx="0" cy="508269"/>
          </a:xfrm>
          <a:prstGeom prst="line">
            <a:avLst/>
          </a:prstGeom>
          <a:noFill/>
          <a:ln w="6350" cap="flat" cmpd="sng" algn="ctr">
            <a:solidFill>
              <a:srgbClr val="5B9BD5"/>
            </a:solidFill>
            <a:prstDash val="solid"/>
            <a:miter lim="800000"/>
          </a:ln>
          <a:effectLst/>
        </p:spPr>
      </p:cxnSp>
      <p:cxnSp>
        <p:nvCxnSpPr>
          <p:cNvPr id="23" name="Straight Connector 22">
            <a:extLst>
              <a:ext uri="{FF2B5EF4-FFF2-40B4-BE49-F238E27FC236}">
                <a16:creationId xmlns:a16="http://schemas.microsoft.com/office/drawing/2014/main" id="{D1E61F99-8011-40A1-A300-99AF942CE36A}"/>
              </a:ext>
            </a:extLst>
          </p:cNvPr>
          <p:cNvCxnSpPr>
            <a:cxnSpLocks/>
          </p:cNvCxnSpPr>
          <p:nvPr/>
        </p:nvCxnSpPr>
        <p:spPr>
          <a:xfrm flipH="1">
            <a:off x="10092722" y="4997128"/>
            <a:ext cx="494390" cy="0"/>
          </a:xfrm>
          <a:prstGeom prst="line">
            <a:avLst/>
          </a:prstGeom>
          <a:noFill/>
          <a:ln w="6350" cap="flat" cmpd="sng" algn="ctr">
            <a:solidFill>
              <a:srgbClr val="5B9BD5"/>
            </a:solidFill>
            <a:prstDash val="solid"/>
            <a:miter lim="800000"/>
          </a:ln>
          <a:effectLst/>
        </p:spPr>
      </p:cxnSp>
      <p:sp>
        <p:nvSpPr>
          <p:cNvPr id="24" name="Freeform: Shape 23">
            <a:extLst>
              <a:ext uri="{FF2B5EF4-FFF2-40B4-BE49-F238E27FC236}">
                <a16:creationId xmlns:a16="http://schemas.microsoft.com/office/drawing/2014/main" id="{6D1DADB2-1697-4CC9-BCC9-6DD672B23AED}"/>
              </a:ext>
            </a:extLst>
          </p:cNvPr>
          <p:cNvSpPr/>
          <p:nvPr/>
        </p:nvSpPr>
        <p:spPr>
          <a:xfrm>
            <a:off x="9446810" y="6041824"/>
            <a:ext cx="1194282"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7,500+ Local Jurisdiction Administrators</a:t>
            </a:r>
          </a:p>
        </p:txBody>
      </p:sp>
      <p:sp>
        <p:nvSpPr>
          <p:cNvPr id="25" name="Freeform: Shape 24">
            <a:extLst>
              <a:ext uri="{FF2B5EF4-FFF2-40B4-BE49-F238E27FC236}">
                <a16:creationId xmlns:a16="http://schemas.microsoft.com/office/drawing/2014/main" id="{378E6F3A-91D4-462C-AAB3-5EA35E90386C}"/>
              </a:ext>
            </a:extLst>
          </p:cNvPr>
          <p:cNvSpPr/>
          <p:nvPr/>
        </p:nvSpPr>
        <p:spPr>
          <a:xfrm>
            <a:off x="6985526" y="6030866"/>
            <a:ext cx="1139239"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Chief State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Election Executives</a:t>
            </a:r>
          </a:p>
        </p:txBody>
      </p:sp>
      <p:sp>
        <p:nvSpPr>
          <p:cNvPr id="26" name="Freeform: Shape 25">
            <a:extLst>
              <a:ext uri="{FF2B5EF4-FFF2-40B4-BE49-F238E27FC236}">
                <a16:creationId xmlns:a16="http://schemas.microsoft.com/office/drawing/2014/main" id="{E441BCFF-2A87-4077-AC7A-442F3D2CB4E2}"/>
              </a:ext>
            </a:extLst>
          </p:cNvPr>
          <p:cNvSpPr/>
          <p:nvPr/>
        </p:nvSpPr>
        <p:spPr>
          <a:xfrm>
            <a:off x="8216168" y="6040628"/>
            <a:ext cx="1139239" cy="692046"/>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State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Elections </a:t>
            </a:r>
          </a:p>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Directors</a:t>
            </a:r>
          </a:p>
        </p:txBody>
      </p:sp>
      <p:sp>
        <p:nvSpPr>
          <p:cNvPr id="27" name="Arrow: Down 26">
            <a:extLst>
              <a:ext uri="{FF2B5EF4-FFF2-40B4-BE49-F238E27FC236}">
                <a16:creationId xmlns:a16="http://schemas.microsoft.com/office/drawing/2014/main" id="{5F86D755-25FF-4530-918F-2F91DDB1F4D5}"/>
              </a:ext>
            </a:extLst>
          </p:cNvPr>
          <p:cNvSpPr/>
          <p:nvPr/>
        </p:nvSpPr>
        <p:spPr>
          <a:xfrm rot="2976747">
            <a:off x="8188110" y="5597588"/>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28" name="Arrow: Down 27">
            <a:extLst>
              <a:ext uri="{FF2B5EF4-FFF2-40B4-BE49-F238E27FC236}">
                <a16:creationId xmlns:a16="http://schemas.microsoft.com/office/drawing/2014/main" id="{CD34E3C9-3FE0-4D1E-9694-5C5924D1D698}"/>
              </a:ext>
            </a:extLst>
          </p:cNvPr>
          <p:cNvSpPr/>
          <p:nvPr/>
        </p:nvSpPr>
        <p:spPr>
          <a:xfrm>
            <a:off x="8932327" y="5641084"/>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29" name="Arrow: Down 28">
            <a:extLst>
              <a:ext uri="{FF2B5EF4-FFF2-40B4-BE49-F238E27FC236}">
                <a16:creationId xmlns:a16="http://schemas.microsoft.com/office/drawing/2014/main" id="{DC34E43D-C3B2-42F6-9E2B-4C928A0B89A2}"/>
              </a:ext>
            </a:extLst>
          </p:cNvPr>
          <p:cNvSpPr/>
          <p:nvPr/>
        </p:nvSpPr>
        <p:spPr>
          <a:xfrm rot="18731558">
            <a:off x="9837294" y="5607071"/>
            <a:ext cx="246276" cy="348496"/>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
        <p:nvSpPr>
          <p:cNvPr id="30" name="Freeform: Shape 29">
            <a:extLst>
              <a:ext uri="{FF2B5EF4-FFF2-40B4-BE49-F238E27FC236}">
                <a16:creationId xmlns:a16="http://schemas.microsoft.com/office/drawing/2014/main" id="{A9F66209-1E68-4AE5-9D2D-29F0FD12B897}"/>
              </a:ext>
            </a:extLst>
          </p:cNvPr>
          <p:cNvSpPr/>
          <p:nvPr/>
        </p:nvSpPr>
        <p:spPr>
          <a:xfrm>
            <a:off x="7928517" y="1313759"/>
            <a:ext cx="2315801" cy="887853"/>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Director, Election &amp; Government Mail Services </a:t>
            </a:r>
          </a:p>
          <a:p>
            <a:pPr algn="ctr" defTabSz="399930">
              <a:lnSpc>
                <a:spcPct val="90000"/>
              </a:lnSpc>
              <a:spcBef>
                <a:spcPct val="0"/>
              </a:spcBef>
              <a:spcAft>
                <a:spcPct val="35000"/>
              </a:spcAft>
              <a:defRPr/>
            </a:pPr>
            <a:r>
              <a:rPr lang="en-US" sz="1200" b="1" kern="0" dirty="0">
                <a:solidFill>
                  <a:srgbClr val="4472C4"/>
                </a:solidFill>
                <a:latin typeface="Arial" panose="020B0604020202020204"/>
                <a:cs typeface="Arial" panose="020B0604020202020204" pitchFamily="34" charset="0"/>
              </a:rPr>
              <a:t>(w 4 Area Specialists)</a:t>
            </a:r>
          </a:p>
        </p:txBody>
      </p:sp>
      <p:cxnSp>
        <p:nvCxnSpPr>
          <p:cNvPr id="43" name="Straight Connector 42">
            <a:extLst>
              <a:ext uri="{FF2B5EF4-FFF2-40B4-BE49-F238E27FC236}">
                <a16:creationId xmlns:a16="http://schemas.microsoft.com/office/drawing/2014/main" id="{BAB6812D-4136-460D-9825-83EF5039120C}"/>
              </a:ext>
            </a:extLst>
          </p:cNvPr>
          <p:cNvCxnSpPr>
            <a:cxnSpLocks/>
          </p:cNvCxnSpPr>
          <p:nvPr/>
        </p:nvCxnSpPr>
        <p:spPr>
          <a:xfrm flipV="1">
            <a:off x="10244318" y="1751902"/>
            <a:ext cx="187968" cy="1170"/>
          </a:xfrm>
          <a:prstGeom prst="line">
            <a:avLst/>
          </a:prstGeom>
          <a:noFill/>
          <a:ln w="6350" cap="flat" cmpd="sng" algn="ctr">
            <a:solidFill>
              <a:srgbClr val="5B9BD5"/>
            </a:solidFill>
            <a:prstDash val="solid"/>
            <a:miter lim="800000"/>
          </a:ln>
          <a:effectLst/>
        </p:spPr>
      </p:cxnSp>
      <p:sp>
        <p:nvSpPr>
          <p:cNvPr id="2" name="Freeform: Shape 1">
            <a:extLst>
              <a:ext uri="{FF2B5EF4-FFF2-40B4-BE49-F238E27FC236}">
                <a16:creationId xmlns:a16="http://schemas.microsoft.com/office/drawing/2014/main" id="{CAF66156-7078-76BB-9D64-C84C6F6BC6FB}"/>
              </a:ext>
            </a:extLst>
          </p:cNvPr>
          <p:cNvSpPr/>
          <p:nvPr/>
        </p:nvSpPr>
        <p:spPr>
          <a:xfrm>
            <a:off x="10732495" y="6054732"/>
            <a:ext cx="1194282" cy="692045"/>
          </a:xfrm>
          <a:custGeom>
            <a:avLst/>
            <a:gdLst>
              <a:gd name="connsiteX0" fmla="*/ 0 w 877184"/>
              <a:gd name="connsiteY0" fmla="*/ 58479 h 584789"/>
              <a:gd name="connsiteX1" fmla="*/ 58479 w 877184"/>
              <a:gd name="connsiteY1" fmla="*/ 0 h 584789"/>
              <a:gd name="connsiteX2" fmla="*/ 818705 w 877184"/>
              <a:gd name="connsiteY2" fmla="*/ 0 h 584789"/>
              <a:gd name="connsiteX3" fmla="*/ 877184 w 877184"/>
              <a:gd name="connsiteY3" fmla="*/ 58479 h 584789"/>
              <a:gd name="connsiteX4" fmla="*/ 877184 w 877184"/>
              <a:gd name="connsiteY4" fmla="*/ 526310 h 584789"/>
              <a:gd name="connsiteX5" fmla="*/ 818705 w 877184"/>
              <a:gd name="connsiteY5" fmla="*/ 584789 h 584789"/>
              <a:gd name="connsiteX6" fmla="*/ 58479 w 877184"/>
              <a:gd name="connsiteY6" fmla="*/ 584789 h 584789"/>
              <a:gd name="connsiteX7" fmla="*/ 0 w 877184"/>
              <a:gd name="connsiteY7" fmla="*/ 526310 h 584789"/>
              <a:gd name="connsiteX8" fmla="*/ 0 w 877184"/>
              <a:gd name="connsiteY8" fmla="*/ 58479 h 58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184" h="584789">
                <a:moveTo>
                  <a:pt x="0" y="58479"/>
                </a:moveTo>
                <a:cubicBezTo>
                  <a:pt x="0" y="26182"/>
                  <a:pt x="26182" y="0"/>
                  <a:pt x="58479" y="0"/>
                </a:cubicBezTo>
                <a:lnTo>
                  <a:pt x="818705" y="0"/>
                </a:lnTo>
                <a:cubicBezTo>
                  <a:pt x="851002" y="0"/>
                  <a:pt x="877184" y="26182"/>
                  <a:pt x="877184" y="58479"/>
                </a:cubicBezTo>
                <a:lnTo>
                  <a:pt x="877184" y="526310"/>
                </a:lnTo>
                <a:cubicBezTo>
                  <a:pt x="877184" y="558607"/>
                  <a:pt x="851002" y="584789"/>
                  <a:pt x="818705" y="584789"/>
                </a:cubicBezTo>
                <a:lnTo>
                  <a:pt x="58479" y="584789"/>
                </a:lnTo>
                <a:cubicBezTo>
                  <a:pt x="26182" y="584789"/>
                  <a:pt x="0" y="558607"/>
                  <a:pt x="0" y="526310"/>
                </a:cubicBezTo>
                <a:lnTo>
                  <a:pt x="0" y="58479"/>
                </a:lnTo>
                <a:close/>
              </a:path>
            </a:pathLst>
          </a:custGeom>
          <a:solidFill>
            <a:srgbClr val="FFC000">
              <a:lumMod val="20000"/>
              <a:lumOff val="80000"/>
            </a:srgbClr>
          </a:solidFill>
          <a:ln w="12700" cap="flat" cmpd="sng" algn="ctr">
            <a:solidFill>
              <a:srgbClr val="4472C4">
                <a:shade val="80000"/>
                <a:hueOff val="0"/>
                <a:satOff val="0"/>
                <a:lumOff val="0"/>
                <a:alphaOff val="0"/>
              </a:srgbClr>
            </a:solidFill>
            <a:prstDash val="solid"/>
            <a:miter lim="800000"/>
          </a:ln>
          <a:effectLst/>
        </p:spPr>
        <p:txBody>
          <a:bodyPr spcFirstLastPara="0" vert="horz" wrap="square" lIns="51405" tIns="51405" rIns="51405" bIns="51405" numCol="1" spcCol="1270" anchor="ctr" anchorCtr="0">
            <a:noAutofit/>
          </a:bodyPr>
          <a:lstStyle/>
          <a:p>
            <a:pPr algn="ctr" defTabSz="399930">
              <a:lnSpc>
                <a:spcPct val="90000"/>
              </a:lnSpc>
              <a:spcBef>
                <a:spcPct val="0"/>
              </a:spcBef>
              <a:spcAft>
                <a:spcPct val="35000"/>
              </a:spcAft>
              <a:defRPr/>
            </a:pPr>
            <a:r>
              <a:rPr lang="en-US" sz="1200" b="1" kern="0" dirty="0">
                <a:solidFill>
                  <a:srgbClr val="4472C4"/>
                </a:solidFill>
                <a:cs typeface="Arial" panose="020B0604020202020204" pitchFamily="34" charset="0"/>
              </a:rPr>
              <a:t>Tribal Election Leaders</a:t>
            </a:r>
          </a:p>
        </p:txBody>
      </p:sp>
      <p:sp>
        <p:nvSpPr>
          <p:cNvPr id="4" name="Arrow: Down 3">
            <a:extLst>
              <a:ext uri="{FF2B5EF4-FFF2-40B4-BE49-F238E27FC236}">
                <a16:creationId xmlns:a16="http://schemas.microsoft.com/office/drawing/2014/main" id="{48C79C2C-82C5-0795-1CA8-F02C75713A2C}"/>
              </a:ext>
            </a:extLst>
          </p:cNvPr>
          <p:cNvSpPr/>
          <p:nvPr/>
        </p:nvSpPr>
        <p:spPr>
          <a:xfrm rot="18731558">
            <a:off x="10471804" y="5401486"/>
            <a:ext cx="192519" cy="679367"/>
          </a:xfrm>
          <a:prstGeom prst="downArrow">
            <a:avLst/>
          </a:prstGeom>
          <a:solidFill>
            <a:srgbClr val="A5A5A5">
              <a:lumMod val="40000"/>
              <a:lumOff val="60000"/>
            </a:srgbClr>
          </a:solidFill>
          <a:ln w="12700" cap="flat" cmpd="sng" algn="ctr">
            <a:solidFill>
              <a:srgbClr val="5B9BD5">
                <a:shade val="50000"/>
              </a:srgbClr>
            </a:solidFill>
            <a:prstDash val="solid"/>
            <a:miter lim="800000"/>
          </a:ln>
          <a:effectLst/>
        </p:spPr>
        <p:txBody>
          <a:bodyPr rtlCol="0" anchor="ctr"/>
          <a:lstStyle/>
          <a:p>
            <a:pPr algn="ctr" defTabSz="914126">
              <a:defRPr/>
            </a:pPr>
            <a:endParaRPr lang="en-US" sz="1799" kern="0">
              <a:solidFill>
                <a:prstClr val="white"/>
              </a:solidFill>
              <a:latin typeface="Rockwell"/>
            </a:endParaRPr>
          </a:p>
        </p:txBody>
      </p:sp>
    </p:spTree>
    <p:extLst>
      <p:ext uri="{BB962C8B-B14F-4D97-AF65-F5344CB8AC3E}">
        <p14:creationId xmlns:p14="http://schemas.microsoft.com/office/powerpoint/2010/main" val="31382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705"/>
          <p:cNvGrpSpPr>
            <a:grpSpLocks/>
          </p:cNvGrpSpPr>
          <p:nvPr/>
        </p:nvGrpSpPr>
        <p:grpSpPr bwMode="auto">
          <a:xfrm>
            <a:off x="2174458" y="846503"/>
            <a:ext cx="7719603" cy="5309734"/>
            <a:chOff x="1428728" y="1329541"/>
            <a:chExt cx="6318000" cy="4413232"/>
          </a:xfrm>
          <a:solidFill>
            <a:srgbClr val="95B3D7"/>
          </a:solidFill>
        </p:grpSpPr>
        <p:grpSp>
          <p:nvGrpSpPr>
            <p:cNvPr id="46" name="Gruppe 251"/>
            <p:cNvGrpSpPr/>
            <p:nvPr/>
          </p:nvGrpSpPr>
          <p:grpSpPr>
            <a:xfrm>
              <a:off x="1428728" y="1357298"/>
              <a:ext cx="6318000" cy="4385475"/>
              <a:chOff x="1449633" y="627625"/>
              <a:chExt cx="7103818" cy="4930930"/>
            </a:xfrm>
            <a:grpFill/>
            <a:effectLst>
              <a:outerShdw blurRad="88900" dist="38100" dir="2700000" algn="tl" rotWithShape="0">
                <a:prstClr val="black">
                  <a:alpha val="54000"/>
                </a:prstClr>
              </a:outerShdw>
            </a:effectLst>
          </p:grpSpPr>
          <p:sp>
            <p:nvSpPr>
              <p:cNvPr id="263" name="Freeform 6"/>
              <p:cNvSpPr>
                <a:spLocks/>
              </p:cNvSpPr>
              <p:nvPr/>
            </p:nvSpPr>
            <p:spPr bwMode="auto">
              <a:xfrm>
                <a:off x="6058305" y="2788156"/>
                <a:ext cx="1017833" cy="564136"/>
              </a:xfrm>
              <a:custGeom>
                <a:avLst/>
                <a:gdLst/>
                <a:ahLst/>
                <a:cxnLst>
                  <a:cxn ang="0">
                    <a:pos x="630" y="82"/>
                  </a:cxn>
                  <a:cxn ang="0">
                    <a:pos x="616" y="40"/>
                  </a:cxn>
                  <a:cxn ang="0">
                    <a:pos x="592" y="24"/>
                  </a:cxn>
                  <a:cxn ang="0">
                    <a:pos x="502" y="36"/>
                  </a:cxn>
                  <a:cxn ang="0">
                    <a:pos x="396" y="0"/>
                  </a:cxn>
                  <a:cxn ang="0">
                    <a:pos x="400" y="12"/>
                  </a:cxn>
                  <a:cxn ang="0">
                    <a:pos x="360" y="52"/>
                  </a:cxn>
                  <a:cxn ang="0">
                    <a:pos x="310" y="162"/>
                  </a:cxn>
                  <a:cxn ang="0">
                    <a:pos x="280" y="148"/>
                  </a:cxn>
                  <a:cxn ang="0">
                    <a:pos x="200" y="204"/>
                  </a:cxn>
                  <a:cxn ang="0">
                    <a:pos x="176" y="188"/>
                  </a:cxn>
                  <a:cxn ang="0">
                    <a:pos x="122" y="232"/>
                  </a:cxn>
                  <a:cxn ang="0">
                    <a:pos x="122" y="228"/>
                  </a:cxn>
                  <a:cxn ang="0">
                    <a:pos x="176" y="184"/>
                  </a:cxn>
                  <a:cxn ang="0">
                    <a:pos x="122" y="224"/>
                  </a:cxn>
                  <a:cxn ang="0">
                    <a:pos x="118" y="256"/>
                  </a:cxn>
                  <a:cxn ang="0">
                    <a:pos x="76" y="312"/>
                  </a:cxn>
                  <a:cxn ang="0">
                    <a:pos x="26" y="286"/>
                  </a:cxn>
                  <a:cxn ang="0">
                    <a:pos x="4" y="330"/>
                  </a:cxn>
                  <a:cxn ang="0">
                    <a:pos x="0" y="322"/>
                  </a:cxn>
                  <a:cxn ang="0">
                    <a:pos x="6" y="378"/>
                  </a:cxn>
                  <a:cxn ang="0">
                    <a:pos x="26" y="376"/>
                  </a:cxn>
                  <a:cxn ang="0">
                    <a:pos x="306" y="330"/>
                  </a:cxn>
                  <a:cxn ang="0">
                    <a:pos x="568" y="276"/>
                  </a:cxn>
                  <a:cxn ang="0">
                    <a:pos x="632" y="202"/>
                  </a:cxn>
                  <a:cxn ang="0">
                    <a:pos x="682" y="104"/>
                  </a:cxn>
                  <a:cxn ang="0">
                    <a:pos x="630" y="82"/>
                  </a:cxn>
                </a:cxnLst>
                <a:rect l="0" t="0" r="r" b="b"/>
                <a:pathLst>
                  <a:path w="682" h="378">
                    <a:moveTo>
                      <a:pt x="630" y="82"/>
                    </a:moveTo>
                    <a:lnTo>
                      <a:pt x="616" y="40"/>
                    </a:lnTo>
                    <a:lnTo>
                      <a:pt x="592" y="24"/>
                    </a:lnTo>
                    <a:lnTo>
                      <a:pt x="502" y="36"/>
                    </a:lnTo>
                    <a:lnTo>
                      <a:pt x="396" y="0"/>
                    </a:lnTo>
                    <a:lnTo>
                      <a:pt x="400" y="12"/>
                    </a:lnTo>
                    <a:lnTo>
                      <a:pt x="360" y="52"/>
                    </a:lnTo>
                    <a:lnTo>
                      <a:pt x="310" y="162"/>
                    </a:lnTo>
                    <a:lnTo>
                      <a:pt x="280" y="148"/>
                    </a:lnTo>
                    <a:lnTo>
                      <a:pt x="200" y="204"/>
                    </a:lnTo>
                    <a:lnTo>
                      <a:pt x="176" y="188"/>
                    </a:lnTo>
                    <a:lnTo>
                      <a:pt x="122" y="232"/>
                    </a:lnTo>
                    <a:lnTo>
                      <a:pt x="122" y="228"/>
                    </a:lnTo>
                    <a:lnTo>
                      <a:pt x="176" y="184"/>
                    </a:lnTo>
                    <a:lnTo>
                      <a:pt x="122" y="224"/>
                    </a:lnTo>
                    <a:lnTo>
                      <a:pt x="118" y="256"/>
                    </a:lnTo>
                    <a:lnTo>
                      <a:pt x="76" y="312"/>
                    </a:lnTo>
                    <a:lnTo>
                      <a:pt x="26" y="286"/>
                    </a:lnTo>
                    <a:lnTo>
                      <a:pt x="4" y="330"/>
                    </a:lnTo>
                    <a:lnTo>
                      <a:pt x="0" y="322"/>
                    </a:lnTo>
                    <a:lnTo>
                      <a:pt x="6" y="378"/>
                    </a:lnTo>
                    <a:lnTo>
                      <a:pt x="26" y="376"/>
                    </a:lnTo>
                    <a:lnTo>
                      <a:pt x="306" y="330"/>
                    </a:lnTo>
                    <a:lnTo>
                      <a:pt x="568" y="276"/>
                    </a:lnTo>
                    <a:lnTo>
                      <a:pt x="632" y="202"/>
                    </a:lnTo>
                    <a:lnTo>
                      <a:pt x="682" y="104"/>
                    </a:lnTo>
                    <a:lnTo>
                      <a:pt x="630" y="82"/>
                    </a:lnTo>
                    <a:close/>
                  </a:path>
                </a:pathLst>
              </a:custGeom>
              <a:grpFill/>
              <a:ln w="4">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64" name="Freeform 7"/>
              <p:cNvSpPr>
                <a:spLocks/>
              </p:cNvSpPr>
              <p:nvPr/>
            </p:nvSpPr>
            <p:spPr bwMode="auto">
              <a:xfrm>
                <a:off x="5200601" y="2732497"/>
                <a:ext cx="877545" cy="761136"/>
              </a:xfrm>
              <a:custGeom>
                <a:avLst/>
                <a:gdLst/>
                <a:ahLst/>
                <a:cxnLst>
                  <a:cxn ang="0">
                    <a:pos x="556" y="278"/>
                  </a:cxn>
                  <a:cxn ang="0">
                    <a:pos x="476" y="220"/>
                  </a:cxn>
                  <a:cxn ang="0">
                    <a:pos x="476" y="140"/>
                  </a:cxn>
                  <a:cxn ang="0">
                    <a:pos x="444" y="140"/>
                  </a:cxn>
                  <a:cxn ang="0">
                    <a:pos x="346" y="14"/>
                  </a:cxn>
                  <a:cxn ang="0">
                    <a:pos x="346" y="0"/>
                  </a:cxn>
                  <a:cxn ang="0">
                    <a:pos x="0" y="8"/>
                  </a:cxn>
                  <a:cxn ang="0">
                    <a:pos x="22" y="70"/>
                  </a:cxn>
                  <a:cxn ang="0">
                    <a:pos x="68" y="70"/>
                  </a:cxn>
                  <a:cxn ang="0">
                    <a:pos x="50" y="136"/>
                  </a:cxn>
                  <a:cxn ang="0">
                    <a:pos x="104" y="160"/>
                  </a:cxn>
                  <a:cxn ang="0">
                    <a:pos x="132" y="470"/>
                  </a:cxn>
                  <a:cxn ang="0">
                    <a:pos x="522" y="462"/>
                  </a:cxn>
                  <a:cxn ang="0">
                    <a:pos x="506" y="510"/>
                  </a:cxn>
                  <a:cxn ang="0">
                    <a:pos x="586" y="504"/>
                  </a:cxn>
                  <a:cxn ang="0">
                    <a:pos x="586" y="410"/>
                  </a:cxn>
                  <a:cxn ang="0">
                    <a:pos x="588" y="408"/>
                  </a:cxn>
                  <a:cxn ang="0">
                    <a:pos x="582" y="352"/>
                  </a:cxn>
                  <a:cxn ang="0">
                    <a:pos x="556" y="278"/>
                  </a:cxn>
                </a:cxnLst>
                <a:rect l="0" t="0" r="r" b="b"/>
                <a:pathLst>
                  <a:path w="588" h="510">
                    <a:moveTo>
                      <a:pt x="556" y="278"/>
                    </a:moveTo>
                    <a:lnTo>
                      <a:pt x="476" y="220"/>
                    </a:lnTo>
                    <a:lnTo>
                      <a:pt x="476" y="140"/>
                    </a:lnTo>
                    <a:lnTo>
                      <a:pt x="444" y="140"/>
                    </a:lnTo>
                    <a:lnTo>
                      <a:pt x="346" y="14"/>
                    </a:lnTo>
                    <a:lnTo>
                      <a:pt x="346" y="0"/>
                    </a:lnTo>
                    <a:lnTo>
                      <a:pt x="0" y="8"/>
                    </a:lnTo>
                    <a:lnTo>
                      <a:pt x="22" y="70"/>
                    </a:lnTo>
                    <a:lnTo>
                      <a:pt x="68" y="70"/>
                    </a:lnTo>
                    <a:lnTo>
                      <a:pt x="50" y="136"/>
                    </a:lnTo>
                    <a:lnTo>
                      <a:pt x="104" y="160"/>
                    </a:lnTo>
                    <a:lnTo>
                      <a:pt x="132" y="470"/>
                    </a:lnTo>
                    <a:lnTo>
                      <a:pt x="522" y="462"/>
                    </a:lnTo>
                    <a:lnTo>
                      <a:pt x="506" y="510"/>
                    </a:lnTo>
                    <a:lnTo>
                      <a:pt x="586" y="504"/>
                    </a:lnTo>
                    <a:lnTo>
                      <a:pt x="586" y="410"/>
                    </a:lnTo>
                    <a:lnTo>
                      <a:pt x="588" y="408"/>
                    </a:lnTo>
                    <a:lnTo>
                      <a:pt x="582" y="352"/>
                    </a:lnTo>
                    <a:lnTo>
                      <a:pt x="556" y="278"/>
                    </a:lnTo>
                    <a:close/>
                  </a:path>
                </a:pathLst>
              </a:custGeom>
              <a:grpFill/>
              <a:ln w="4">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nvGrpSpPr>
              <p:cNvPr id="265" name="Gruppe 360"/>
              <p:cNvGrpSpPr/>
              <p:nvPr/>
            </p:nvGrpSpPr>
            <p:grpSpPr>
              <a:xfrm>
                <a:off x="1449633" y="627625"/>
                <a:ext cx="7103818" cy="4930930"/>
                <a:chOff x="1449633" y="627625"/>
                <a:chExt cx="7103818" cy="4930930"/>
              </a:xfrm>
              <a:grpFill/>
            </p:grpSpPr>
            <p:sp>
              <p:nvSpPr>
                <p:cNvPr id="266" name="Freeform 6"/>
                <p:cNvSpPr>
                  <a:spLocks/>
                </p:cNvSpPr>
                <p:nvPr/>
              </p:nvSpPr>
              <p:spPr bwMode="auto">
                <a:xfrm>
                  <a:off x="5419725" y="1465887"/>
                  <a:ext cx="751182" cy="872831"/>
                </a:xfrm>
                <a:custGeom>
                  <a:avLst/>
                  <a:gdLst/>
                  <a:ahLst/>
                  <a:cxnLst>
                    <a:cxn ang="0">
                      <a:pos x="404" y="538"/>
                    </a:cxn>
                    <a:cxn ang="0">
                      <a:pos x="490" y="542"/>
                    </a:cxn>
                    <a:cxn ang="0">
                      <a:pos x="464" y="400"/>
                    </a:cxn>
                    <a:cxn ang="0">
                      <a:pos x="494" y="172"/>
                    </a:cxn>
                    <a:cxn ang="0">
                      <a:pos x="446" y="160"/>
                    </a:cxn>
                    <a:cxn ang="0">
                      <a:pos x="414" y="160"/>
                    </a:cxn>
                    <a:cxn ang="0">
                      <a:pos x="404" y="122"/>
                    </a:cxn>
                    <a:cxn ang="0">
                      <a:pos x="196" y="96"/>
                    </a:cxn>
                    <a:cxn ang="0">
                      <a:pos x="174" y="38"/>
                    </a:cxn>
                    <a:cxn ang="0">
                      <a:pos x="146" y="38"/>
                    </a:cxn>
                    <a:cxn ang="0">
                      <a:pos x="146" y="0"/>
                    </a:cxn>
                    <a:cxn ang="0">
                      <a:pos x="78" y="24"/>
                    </a:cxn>
                    <a:cxn ang="0">
                      <a:pos x="36" y="116"/>
                    </a:cxn>
                    <a:cxn ang="0">
                      <a:pos x="0" y="158"/>
                    </a:cxn>
                    <a:cxn ang="0">
                      <a:pos x="28" y="292"/>
                    </a:cxn>
                    <a:cxn ang="0">
                      <a:pos x="166" y="374"/>
                    </a:cxn>
                    <a:cxn ang="0">
                      <a:pos x="194" y="508"/>
                    </a:cxn>
                    <a:cxn ang="0">
                      <a:pos x="264" y="574"/>
                    </a:cxn>
                    <a:cxn ang="0">
                      <a:pos x="352" y="568"/>
                    </a:cxn>
                    <a:cxn ang="0">
                      <a:pos x="404" y="538"/>
                    </a:cxn>
                  </a:cxnLst>
                  <a:rect l="0" t="0" r="r" b="b"/>
                  <a:pathLst>
                    <a:path w="494" h="574">
                      <a:moveTo>
                        <a:pt x="404" y="538"/>
                      </a:moveTo>
                      <a:lnTo>
                        <a:pt x="490" y="542"/>
                      </a:lnTo>
                      <a:lnTo>
                        <a:pt x="464" y="400"/>
                      </a:lnTo>
                      <a:lnTo>
                        <a:pt x="494" y="172"/>
                      </a:lnTo>
                      <a:lnTo>
                        <a:pt x="446" y="160"/>
                      </a:lnTo>
                      <a:lnTo>
                        <a:pt x="414" y="160"/>
                      </a:lnTo>
                      <a:lnTo>
                        <a:pt x="404" y="122"/>
                      </a:lnTo>
                      <a:lnTo>
                        <a:pt x="196" y="96"/>
                      </a:lnTo>
                      <a:lnTo>
                        <a:pt x="174" y="38"/>
                      </a:lnTo>
                      <a:lnTo>
                        <a:pt x="146" y="38"/>
                      </a:lnTo>
                      <a:lnTo>
                        <a:pt x="146" y="0"/>
                      </a:lnTo>
                      <a:lnTo>
                        <a:pt x="78" y="24"/>
                      </a:lnTo>
                      <a:lnTo>
                        <a:pt x="36" y="116"/>
                      </a:lnTo>
                      <a:lnTo>
                        <a:pt x="0" y="158"/>
                      </a:lnTo>
                      <a:lnTo>
                        <a:pt x="28" y="292"/>
                      </a:lnTo>
                      <a:lnTo>
                        <a:pt x="166" y="374"/>
                      </a:lnTo>
                      <a:lnTo>
                        <a:pt x="194" y="508"/>
                      </a:lnTo>
                      <a:lnTo>
                        <a:pt x="264" y="574"/>
                      </a:lnTo>
                      <a:lnTo>
                        <a:pt x="352" y="568"/>
                      </a:lnTo>
                      <a:lnTo>
                        <a:pt x="404" y="538"/>
                      </a:lnTo>
                      <a:close/>
                    </a:path>
                  </a:pathLst>
                </a:custGeom>
                <a:grpFill/>
                <a:ln w="4">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67" name="Freeform 7"/>
                <p:cNvSpPr>
                  <a:spLocks/>
                </p:cNvSpPr>
                <p:nvPr/>
              </p:nvSpPr>
              <p:spPr bwMode="auto">
                <a:xfrm>
                  <a:off x="5714724" y="2283975"/>
                  <a:ext cx="571750" cy="1000562"/>
                </a:xfrm>
                <a:custGeom>
                  <a:avLst/>
                  <a:gdLst/>
                  <a:ahLst/>
                  <a:cxnLst>
                    <a:cxn ang="0">
                      <a:pos x="336" y="64"/>
                    </a:cxn>
                    <a:cxn ang="0">
                      <a:pos x="300" y="26"/>
                    </a:cxn>
                    <a:cxn ang="0">
                      <a:pos x="296" y="4"/>
                    </a:cxn>
                    <a:cxn ang="0">
                      <a:pos x="210" y="0"/>
                    </a:cxn>
                    <a:cxn ang="0">
                      <a:pos x="158" y="30"/>
                    </a:cxn>
                    <a:cxn ang="0">
                      <a:pos x="70" y="36"/>
                    </a:cxn>
                    <a:cxn ang="0">
                      <a:pos x="78" y="96"/>
                    </a:cxn>
                    <a:cxn ang="0">
                      <a:pos x="22" y="162"/>
                    </a:cxn>
                    <a:cxn ang="0">
                      <a:pos x="42" y="202"/>
                    </a:cxn>
                    <a:cxn ang="0">
                      <a:pos x="0" y="272"/>
                    </a:cxn>
                    <a:cxn ang="0">
                      <a:pos x="0" y="320"/>
                    </a:cxn>
                    <a:cxn ang="0">
                      <a:pos x="96" y="442"/>
                    </a:cxn>
                    <a:cxn ang="0">
                      <a:pos x="130" y="442"/>
                    </a:cxn>
                    <a:cxn ang="0">
                      <a:pos x="130" y="526"/>
                    </a:cxn>
                    <a:cxn ang="0">
                      <a:pos x="208" y="580"/>
                    </a:cxn>
                    <a:cxn ang="0">
                      <a:pos x="236" y="658"/>
                    </a:cxn>
                    <a:cxn ang="0">
                      <a:pos x="258" y="616"/>
                    </a:cxn>
                    <a:cxn ang="0">
                      <a:pos x="308" y="644"/>
                    </a:cxn>
                    <a:cxn ang="0">
                      <a:pos x="348" y="592"/>
                    </a:cxn>
                    <a:cxn ang="0">
                      <a:pos x="356" y="510"/>
                    </a:cxn>
                    <a:cxn ang="0">
                      <a:pos x="376" y="428"/>
                    </a:cxn>
                    <a:cxn ang="0">
                      <a:pos x="336" y="64"/>
                    </a:cxn>
                  </a:cxnLst>
                  <a:rect l="0" t="0" r="r" b="b"/>
                  <a:pathLst>
                    <a:path w="376" h="658">
                      <a:moveTo>
                        <a:pt x="336" y="64"/>
                      </a:moveTo>
                      <a:lnTo>
                        <a:pt x="300" y="26"/>
                      </a:lnTo>
                      <a:lnTo>
                        <a:pt x="296" y="4"/>
                      </a:lnTo>
                      <a:lnTo>
                        <a:pt x="210" y="0"/>
                      </a:lnTo>
                      <a:lnTo>
                        <a:pt x="158" y="30"/>
                      </a:lnTo>
                      <a:lnTo>
                        <a:pt x="70" y="36"/>
                      </a:lnTo>
                      <a:lnTo>
                        <a:pt x="78" y="96"/>
                      </a:lnTo>
                      <a:lnTo>
                        <a:pt x="22" y="162"/>
                      </a:lnTo>
                      <a:lnTo>
                        <a:pt x="42" y="202"/>
                      </a:lnTo>
                      <a:lnTo>
                        <a:pt x="0" y="272"/>
                      </a:lnTo>
                      <a:lnTo>
                        <a:pt x="0" y="320"/>
                      </a:lnTo>
                      <a:lnTo>
                        <a:pt x="96" y="442"/>
                      </a:lnTo>
                      <a:lnTo>
                        <a:pt x="130" y="442"/>
                      </a:lnTo>
                      <a:lnTo>
                        <a:pt x="130" y="526"/>
                      </a:lnTo>
                      <a:lnTo>
                        <a:pt x="208" y="580"/>
                      </a:lnTo>
                      <a:lnTo>
                        <a:pt x="236" y="658"/>
                      </a:lnTo>
                      <a:lnTo>
                        <a:pt x="258" y="616"/>
                      </a:lnTo>
                      <a:lnTo>
                        <a:pt x="308" y="644"/>
                      </a:lnTo>
                      <a:lnTo>
                        <a:pt x="348" y="592"/>
                      </a:lnTo>
                      <a:lnTo>
                        <a:pt x="356" y="510"/>
                      </a:lnTo>
                      <a:lnTo>
                        <a:pt x="376" y="428"/>
                      </a:lnTo>
                      <a:lnTo>
                        <a:pt x="336" y="64"/>
                      </a:lnTo>
                      <a:close/>
                    </a:path>
                  </a:pathLst>
                </a:custGeom>
                <a:grpFill/>
                <a:ln w="4">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nvGrpSpPr>
                <p:cNvPr id="268" name="Gruppe 313"/>
                <p:cNvGrpSpPr/>
                <p:nvPr/>
              </p:nvGrpSpPr>
              <p:grpSpPr>
                <a:xfrm>
                  <a:off x="1449633" y="627625"/>
                  <a:ext cx="7103818" cy="4930930"/>
                  <a:chOff x="1449633" y="456175"/>
                  <a:chExt cx="7103818" cy="4930930"/>
                </a:xfrm>
                <a:grpFill/>
              </p:grpSpPr>
              <p:sp>
                <p:nvSpPr>
                  <p:cNvPr id="269" name="Freeform 3053"/>
                  <p:cNvSpPr>
                    <a:spLocks/>
                  </p:cNvSpPr>
                  <p:nvPr/>
                </p:nvSpPr>
                <p:spPr bwMode="auto">
                  <a:xfrm>
                    <a:off x="7807144" y="1160689"/>
                    <a:ext cx="149261" cy="570179"/>
                  </a:xfrm>
                  <a:custGeom>
                    <a:avLst/>
                    <a:gdLst/>
                    <a:ahLst/>
                    <a:cxnLst>
                      <a:cxn ang="0">
                        <a:pos x="0" y="0"/>
                      </a:cxn>
                      <a:cxn ang="0">
                        <a:pos x="86" y="312"/>
                      </a:cxn>
                      <a:cxn ang="0">
                        <a:pos x="100" y="382"/>
                      </a:cxn>
                      <a:cxn ang="0">
                        <a:pos x="94" y="324"/>
                      </a:cxn>
                      <a:cxn ang="0">
                        <a:pos x="30" y="98"/>
                      </a:cxn>
                      <a:cxn ang="0">
                        <a:pos x="0" y="0"/>
                      </a:cxn>
                    </a:cxnLst>
                    <a:rect l="0" t="0" r="r" b="b"/>
                    <a:pathLst>
                      <a:path w="100" h="382">
                        <a:moveTo>
                          <a:pt x="0" y="0"/>
                        </a:moveTo>
                        <a:lnTo>
                          <a:pt x="86" y="312"/>
                        </a:lnTo>
                        <a:lnTo>
                          <a:pt x="100" y="382"/>
                        </a:lnTo>
                        <a:lnTo>
                          <a:pt x="94" y="324"/>
                        </a:lnTo>
                        <a:lnTo>
                          <a:pt x="30" y="98"/>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0" name="Freeform 3054"/>
                  <p:cNvSpPr>
                    <a:spLocks/>
                  </p:cNvSpPr>
                  <p:nvPr/>
                </p:nvSpPr>
                <p:spPr bwMode="auto">
                  <a:xfrm>
                    <a:off x="7147408" y="1109940"/>
                    <a:ext cx="895569" cy="814968"/>
                  </a:xfrm>
                  <a:custGeom>
                    <a:avLst/>
                    <a:gdLst/>
                    <a:ahLst/>
                    <a:cxnLst>
                      <a:cxn ang="0">
                        <a:pos x="546" y="442"/>
                      </a:cxn>
                      <a:cxn ang="0">
                        <a:pos x="542" y="416"/>
                      </a:cxn>
                      <a:cxn ang="0">
                        <a:pos x="528" y="346"/>
                      </a:cxn>
                      <a:cxn ang="0">
                        <a:pos x="442" y="34"/>
                      </a:cxn>
                      <a:cxn ang="0">
                        <a:pos x="434" y="0"/>
                      </a:cxn>
                      <a:cxn ang="0">
                        <a:pos x="434" y="0"/>
                      </a:cxn>
                      <a:cxn ang="0">
                        <a:pos x="434" y="0"/>
                      </a:cxn>
                      <a:cxn ang="0">
                        <a:pos x="308" y="48"/>
                      </a:cxn>
                      <a:cxn ang="0">
                        <a:pos x="238" y="208"/>
                      </a:cxn>
                      <a:cxn ang="0">
                        <a:pos x="246" y="234"/>
                      </a:cxn>
                      <a:cxn ang="0">
                        <a:pos x="216" y="290"/>
                      </a:cxn>
                      <a:cxn ang="0">
                        <a:pos x="84" y="318"/>
                      </a:cxn>
                      <a:cxn ang="0">
                        <a:pos x="46" y="398"/>
                      </a:cxn>
                      <a:cxn ang="0">
                        <a:pos x="58" y="426"/>
                      </a:cxn>
                      <a:cxn ang="0">
                        <a:pos x="0" y="494"/>
                      </a:cxn>
                      <a:cxn ang="0">
                        <a:pos x="16" y="546"/>
                      </a:cxn>
                      <a:cxn ang="0">
                        <a:pos x="380" y="426"/>
                      </a:cxn>
                      <a:cxn ang="0">
                        <a:pos x="456" y="492"/>
                      </a:cxn>
                      <a:cxn ang="0">
                        <a:pos x="478" y="498"/>
                      </a:cxn>
                      <a:cxn ang="0">
                        <a:pos x="588" y="522"/>
                      </a:cxn>
                      <a:cxn ang="0">
                        <a:pos x="600" y="496"/>
                      </a:cxn>
                      <a:cxn ang="0">
                        <a:pos x="594" y="490"/>
                      </a:cxn>
                      <a:cxn ang="0">
                        <a:pos x="546" y="442"/>
                      </a:cxn>
                    </a:cxnLst>
                    <a:rect l="0" t="0" r="r" b="b"/>
                    <a:pathLst>
                      <a:path w="600" h="546">
                        <a:moveTo>
                          <a:pt x="546" y="442"/>
                        </a:moveTo>
                        <a:lnTo>
                          <a:pt x="542" y="416"/>
                        </a:lnTo>
                        <a:lnTo>
                          <a:pt x="528" y="346"/>
                        </a:lnTo>
                        <a:lnTo>
                          <a:pt x="442" y="34"/>
                        </a:lnTo>
                        <a:lnTo>
                          <a:pt x="434" y="0"/>
                        </a:lnTo>
                        <a:lnTo>
                          <a:pt x="434" y="0"/>
                        </a:lnTo>
                        <a:lnTo>
                          <a:pt x="434" y="0"/>
                        </a:lnTo>
                        <a:lnTo>
                          <a:pt x="308" y="48"/>
                        </a:lnTo>
                        <a:lnTo>
                          <a:pt x="238" y="208"/>
                        </a:lnTo>
                        <a:lnTo>
                          <a:pt x="246" y="234"/>
                        </a:lnTo>
                        <a:lnTo>
                          <a:pt x="216" y="290"/>
                        </a:lnTo>
                        <a:lnTo>
                          <a:pt x="84" y="318"/>
                        </a:lnTo>
                        <a:lnTo>
                          <a:pt x="46" y="398"/>
                        </a:lnTo>
                        <a:lnTo>
                          <a:pt x="58" y="426"/>
                        </a:lnTo>
                        <a:lnTo>
                          <a:pt x="0" y="494"/>
                        </a:lnTo>
                        <a:lnTo>
                          <a:pt x="16" y="546"/>
                        </a:lnTo>
                        <a:lnTo>
                          <a:pt x="380" y="426"/>
                        </a:lnTo>
                        <a:lnTo>
                          <a:pt x="456" y="492"/>
                        </a:lnTo>
                        <a:lnTo>
                          <a:pt x="478" y="498"/>
                        </a:lnTo>
                        <a:lnTo>
                          <a:pt x="588" y="522"/>
                        </a:lnTo>
                        <a:lnTo>
                          <a:pt x="600" y="496"/>
                        </a:lnTo>
                        <a:lnTo>
                          <a:pt x="594" y="490"/>
                        </a:lnTo>
                        <a:lnTo>
                          <a:pt x="546" y="4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1" name="Freeform 3055"/>
                  <p:cNvSpPr>
                    <a:spLocks/>
                  </p:cNvSpPr>
                  <p:nvPr/>
                </p:nvSpPr>
                <p:spPr bwMode="auto">
                  <a:xfrm>
                    <a:off x="8183283" y="1315921"/>
                    <a:ext cx="59705" cy="41793"/>
                  </a:xfrm>
                  <a:custGeom>
                    <a:avLst/>
                    <a:gdLst/>
                    <a:ahLst/>
                    <a:cxnLst>
                      <a:cxn ang="0">
                        <a:pos x="40" y="28"/>
                      </a:cxn>
                      <a:cxn ang="0">
                        <a:pos x="40" y="24"/>
                      </a:cxn>
                      <a:cxn ang="0">
                        <a:pos x="0" y="0"/>
                      </a:cxn>
                      <a:cxn ang="0">
                        <a:pos x="40" y="28"/>
                      </a:cxn>
                    </a:cxnLst>
                    <a:rect l="0" t="0" r="r" b="b"/>
                    <a:pathLst>
                      <a:path w="40" h="28">
                        <a:moveTo>
                          <a:pt x="40" y="28"/>
                        </a:moveTo>
                        <a:lnTo>
                          <a:pt x="40" y="24"/>
                        </a:lnTo>
                        <a:lnTo>
                          <a:pt x="0" y="0"/>
                        </a:lnTo>
                        <a:lnTo>
                          <a:pt x="40" y="2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2" name="Freeform 3056"/>
                  <p:cNvSpPr>
                    <a:spLocks/>
                  </p:cNvSpPr>
                  <p:nvPr/>
                </p:nvSpPr>
                <p:spPr bwMode="auto">
                  <a:xfrm>
                    <a:off x="7995213" y="456175"/>
                    <a:ext cx="558238" cy="895569"/>
                  </a:xfrm>
                  <a:custGeom>
                    <a:avLst/>
                    <a:gdLst/>
                    <a:ahLst/>
                    <a:cxnLst>
                      <a:cxn ang="0">
                        <a:pos x="284" y="228"/>
                      </a:cxn>
                      <a:cxn ang="0">
                        <a:pos x="244" y="202"/>
                      </a:cxn>
                      <a:cxn ang="0">
                        <a:pos x="136" y="0"/>
                      </a:cxn>
                      <a:cxn ang="0">
                        <a:pos x="84" y="68"/>
                      </a:cxn>
                      <a:cxn ang="0">
                        <a:pos x="46" y="54"/>
                      </a:cxn>
                      <a:cxn ang="0">
                        <a:pos x="46" y="228"/>
                      </a:cxn>
                      <a:cxn ang="0">
                        <a:pos x="0" y="356"/>
                      </a:cxn>
                      <a:cxn ang="0">
                        <a:pos x="126" y="576"/>
                      </a:cxn>
                      <a:cxn ang="0">
                        <a:pos x="166" y="600"/>
                      </a:cxn>
                      <a:cxn ang="0">
                        <a:pos x="166" y="540"/>
                      </a:cxn>
                      <a:cxn ang="0">
                        <a:pos x="244" y="404"/>
                      </a:cxn>
                      <a:cxn ang="0">
                        <a:pos x="294" y="378"/>
                      </a:cxn>
                      <a:cxn ang="0">
                        <a:pos x="294" y="336"/>
                      </a:cxn>
                      <a:cxn ang="0">
                        <a:pos x="374" y="202"/>
                      </a:cxn>
                      <a:cxn ang="0">
                        <a:pos x="284" y="228"/>
                      </a:cxn>
                    </a:cxnLst>
                    <a:rect l="0" t="0" r="r" b="b"/>
                    <a:pathLst>
                      <a:path w="374" h="600">
                        <a:moveTo>
                          <a:pt x="284" y="228"/>
                        </a:moveTo>
                        <a:lnTo>
                          <a:pt x="244" y="202"/>
                        </a:lnTo>
                        <a:lnTo>
                          <a:pt x="136" y="0"/>
                        </a:lnTo>
                        <a:lnTo>
                          <a:pt x="84" y="68"/>
                        </a:lnTo>
                        <a:lnTo>
                          <a:pt x="46" y="54"/>
                        </a:lnTo>
                        <a:lnTo>
                          <a:pt x="46" y="228"/>
                        </a:lnTo>
                        <a:lnTo>
                          <a:pt x="0" y="356"/>
                        </a:lnTo>
                        <a:lnTo>
                          <a:pt x="126" y="576"/>
                        </a:lnTo>
                        <a:lnTo>
                          <a:pt x="166" y="600"/>
                        </a:lnTo>
                        <a:lnTo>
                          <a:pt x="166" y="540"/>
                        </a:lnTo>
                        <a:lnTo>
                          <a:pt x="244" y="404"/>
                        </a:lnTo>
                        <a:lnTo>
                          <a:pt x="294" y="378"/>
                        </a:lnTo>
                        <a:lnTo>
                          <a:pt x="294" y="336"/>
                        </a:lnTo>
                        <a:lnTo>
                          <a:pt x="374" y="202"/>
                        </a:lnTo>
                        <a:lnTo>
                          <a:pt x="284" y="22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3" name="Freeform 3057"/>
                  <p:cNvSpPr>
                    <a:spLocks/>
                  </p:cNvSpPr>
                  <p:nvPr/>
                </p:nvSpPr>
                <p:spPr bwMode="auto">
                  <a:xfrm>
                    <a:off x="7798188" y="1047250"/>
                    <a:ext cx="176129" cy="504504"/>
                  </a:xfrm>
                  <a:custGeom>
                    <a:avLst/>
                    <a:gdLst/>
                    <a:ahLst/>
                    <a:cxnLst>
                      <a:cxn ang="0">
                        <a:pos x="110" y="84"/>
                      </a:cxn>
                      <a:cxn ang="0">
                        <a:pos x="110" y="84"/>
                      </a:cxn>
                      <a:cxn ang="0">
                        <a:pos x="112" y="64"/>
                      </a:cxn>
                      <a:cxn ang="0">
                        <a:pos x="112" y="42"/>
                      </a:cxn>
                      <a:cxn ang="0">
                        <a:pos x="110" y="20"/>
                      </a:cxn>
                      <a:cxn ang="0">
                        <a:pos x="106" y="0"/>
                      </a:cxn>
                      <a:cxn ang="0">
                        <a:pos x="0" y="40"/>
                      </a:cxn>
                      <a:cxn ang="0">
                        <a:pos x="0" y="42"/>
                      </a:cxn>
                      <a:cxn ang="0">
                        <a:pos x="2" y="42"/>
                      </a:cxn>
                      <a:cxn ang="0">
                        <a:pos x="40" y="174"/>
                      </a:cxn>
                      <a:cxn ang="0">
                        <a:pos x="80" y="318"/>
                      </a:cxn>
                      <a:cxn ang="0">
                        <a:pos x="86" y="338"/>
                      </a:cxn>
                      <a:cxn ang="0">
                        <a:pos x="86" y="338"/>
                      </a:cxn>
                      <a:cxn ang="0">
                        <a:pos x="118" y="330"/>
                      </a:cxn>
                      <a:cxn ang="0">
                        <a:pos x="118" y="330"/>
                      </a:cxn>
                      <a:cxn ang="0">
                        <a:pos x="110" y="302"/>
                      </a:cxn>
                      <a:cxn ang="0">
                        <a:pos x="106" y="270"/>
                      </a:cxn>
                      <a:cxn ang="0">
                        <a:pos x="104" y="234"/>
                      </a:cxn>
                      <a:cxn ang="0">
                        <a:pos x="104" y="198"/>
                      </a:cxn>
                      <a:cxn ang="0">
                        <a:pos x="106" y="132"/>
                      </a:cxn>
                      <a:cxn ang="0">
                        <a:pos x="108" y="104"/>
                      </a:cxn>
                      <a:cxn ang="0">
                        <a:pos x="110" y="84"/>
                      </a:cxn>
                      <a:cxn ang="0">
                        <a:pos x="110" y="84"/>
                      </a:cxn>
                    </a:cxnLst>
                    <a:rect l="0" t="0" r="r" b="b"/>
                    <a:pathLst>
                      <a:path w="118" h="338">
                        <a:moveTo>
                          <a:pt x="110" y="84"/>
                        </a:moveTo>
                        <a:lnTo>
                          <a:pt x="110" y="84"/>
                        </a:lnTo>
                        <a:lnTo>
                          <a:pt x="112" y="64"/>
                        </a:lnTo>
                        <a:lnTo>
                          <a:pt x="112" y="42"/>
                        </a:lnTo>
                        <a:lnTo>
                          <a:pt x="110" y="20"/>
                        </a:lnTo>
                        <a:lnTo>
                          <a:pt x="106" y="0"/>
                        </a:lnTo>
                        <a:lnTo>
                          <a:pt x="0" y="40"/>
                        </a:lnTo>
                        <a:lnTo>
                          <a:pt x="0" y="42"/>
                        </a:lnTo>
                        <a:lnTo>
                          <a:pt x="2" y="42"/>
                        </a:lnTo>
                        <a:lnTo>
                          <a:pt x="40" y="174"/>
                        </a:lnTo>
                        <a:lnTo>
                          <a:pt x="80" y="318"/>
                        </a:lnTo>
                        <a:lnTo>
                          <a:pt x="86" y="338"/>
                        </a:lnTo>
                        <a:lnTo>
                          <a:pt x="86" y="338"/>
                        </a:lnTo>
                        <a:lnTo>
                          <a:pt x="118" y="330"/>
                        </a:lnTo>
                        <a:lnTo>
                          <a:pt x="118" y="330"/>
                        </a:lnTo>
                        <a:lnTo>
                          <a:pt x="110" y="302"/>
                        </a:lnTo>
                        <a:lnTo>
                          <a:pt x="106" y="270"/>
                        </a:lnTo>
                        <a:lnTo>
                          <a:pt x="104" y="234"/>
                        </a:lnTo>
                        <a:lnTo>
                          <a:pt x="104" y="198"/>
                        </a:lnTo>
                        <a:lnTo>
                          <a:pt x="106" y="132"/>
                        </a:lnTo>
                        <a:lnTo>
                          <a:pt x="108" y="104"/>
                        </a:lnTo>
                        <a:lnTo>
                          <a:pt x="110" y="84"/>
                        </a:lnTo>
                        <a:lnTo>
                          <a:pt x="110" y="8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4" name="Freeform 3058"/>
                  <p:cNvSpPr>
                    <a:spLocks/>
                  </p:cNvSpPr>
                  <p:nvPr/>
                </p:nvSpPr>
                <p:spPr bwMode="auto">
                  <a:xfrm>
                    <a:off x="7953420" y="984561"/>
                    <a:ext cx="292552" cy="555253"/>
                  </a:xfrm>
                  <a:custGeom>
                    <a:avLst/>
                    <a:gdLst/>
                    <a:ahLst/>
                    <a:cxnLst>
                      <a:cxn ang="0">
                        <a:pos x="156" y="224"/>
                      </a:cxn>
                      <a:cxn ang="0">
                        <a:pos x="30" y="6"/>
                      </a:cxn>
                      <a:cxn ang="0">
                        <a:pos x="30" y="4"/>
                      </a:cxn>
                      <a:cxn ang="0">
                        <a:pos x="156" y="222"/>
                      </a:cxn>
                      <a:cxn ang="0">
                        <a:pos x="30" y="0"/>
                      </a:cxn>
                      <a:cxn ang="0">
                        <a:pos x="16" y="36"/>
                      </a:cxn>
                      <a:cxn ang="0">
                        <a:pos x="2" y="42"/>
                      </a:cxn>
                      <a:cxn ang="0">
                        <a:pos x="2" y="42"/>
                      </a:cxn>
                      <a:cxn ang="0">
                        <a:pos x="6" y="62"/>
                      </a:cxn>
                      <a:cxn ang="0">
                        <a:pos x="8" y="84"/>
                      </a:cxn>
                      <a:cxn ang="0">
                        <a:pos x="8" y="106"/>
                      </a:cxn>
                      <a:cxn ang="0">
                        <a:pos x="6" y="126"/>
                      </a:cxn>
                      <a:cxn ang="0">
                        <a:pos x="6" y="126"/>
                      </a:cxn>
                      <a:cxn ang="0">
                        <a:pos x="4" y="146"/>
                      </a:cxn>
                      <a:cxn ang="0">
                        <a:pos x="2" y="174"/>
                      </a:cxn>
                      <a:cxn ang="0">
                        <a:pos x="0" y="240"/>
                      </a:cxn>
                      <a:cxn ang="0">
                        <a:pos x="0" y="276"/>
                      </a:cxn>
                      <a:cxn ang="0">
                        <a:pos x="2" y="312"/>
                      </a:cxn>
                      <a:cxn ang="0">
                        <a:pos x="6" y="344"/>
                      </a:cxn>
                      <a:cxn ang="0">
                        <a:pos x="14" y="372"/>
                      </a:cxn>
                      <a:cxn ang="0">
                        <a:pos x="14" y="372"/>
                      </a:cxn>
                      <a:cxn ang="0">
                        <a:pos x="44" y="362"/>
                      </a:cxn>
                      <a:cxn ang="0">
                        <a:pos x="74" y="350"/>
                      </a:cxn>
                      <a:cxn ang="0">
                        <a:pos x="100" y="334"/>
                      </a:cxn>
                      <a:cxn ang="0">
                        <a:pos x="114" y="326"/>
                      </a:cxn>
                      <a:cxn ang="0">
                        <a:pos x="124" y="316"/>
                      </a:cxn>
                      <a:cxn ang="0">
                        <a:pos x="124" y="316"/>
                      </a:cxn>
                      <a:cxn ang="0">
                        <a:pos x="134" y="308"/>
                      </a:cxn>
                      <a:cxn ang="0">
                        <a:pos x="144" y="300"/>
                      </a:cxn>
                      <a:cxn ang="0">
                        <a:pos x="154" y="296"/>
                      </a:cxn>
                      <a:cxn ang="0">
                        <a:pos x="164" y="292"/>
                      </a:cxn>
                      <a:cxn ang="0">
                        <a:pos x="182" y="288"/>
                      </a:cxn>
                      <a:cxn ang="0">
                        <a:pos x="196" y="288"/>
                      </a:cxn>
                      <a:cxn ang="0">
                        <a:pos x="196" y="250"/>
                      </a:cxn>
                      <a:cxn ang="0">
                        <a:pos x="156" y="224"/>
                      </a:cxn>
                    </a:cxnLst>
                    <a:rect l="0" t="0" r="r" b="b"/>
                    <a:pathLst>
                      <a:path w="196" h="372">
                        <a:moveTo>
                          <a:pt x="156" y="224"/>
                        </a:moveTo>
                        <a:lnTo>
                          <a:pt x="30" y="6"/>
                        </a:lnTo>
                        <a:lnTo>
                          <a:pt x="30" y="4"/>
                        </a:lnTo>
                        <a:lnTo>
                          <a:pt x="156" y="222"/>
                        </a:lnTo>
                        <a:lnTo>
                          <a:pt x="30" y="0"/>
                        </a:lnTo>
                        <a:lnTo>
                          <a:pt x="16" y="36"/>
                        </a:lnTo>
                        <a:lnTo>
                          <a:pt x="2" y="42"/>
                        </a:lnTo>
                        <a:lnTo>
                          <a:pt x="2" y="42"/>
                        </a:lnTo>
                        <a:lnTo>
                          <a:pt x="6" y="62"/>
                        </a:lnTo>
                        <a:lnTo>
                          <a:pt x="8" y="84"/>
                        </a:lnTo>
                        <a:lnTo>
                          <a:pt x="8" y="106"/>
                        </a:lnTo>
                        <a:lnTo>
                          <a:pt x="6" y="126"/>
                        </a:lnTo>
                        <a:lnTo>
                          <a:pt x="6" y="126"/>
                        </a:lnTo>
                        <a:lnTo>
                          <a:pt x="4" y="146"/>
                        </a:lnTo>
                        <a:lnTo>
                          <a:pt x="2" y="174"/>
                        </a:lnTo>
                        <a:lnTo>
                          <a:pt x="0" y="240"/>
                        </a:lnTo>
                        <a:lnTo>
                          <a:pt x="0" y="276"/>
                        </a:lnTo>
                        <a:lnTo>
                          <a:pt x="2" y="312"/>
                        </a:lnTo>
                        <a:lnTo>
                          <a:pt x="6" y="344"/>
                        </a:lnTo>
                        <a:lnTo>
                          <a:pt x="14" y="372"/>
                        </a:lnTo>
                        <a:lnTo>
                          <a:pt x="14" y="372"/>
                        </a:lnTo>
                        <a:lnTo>
                          <a:pt x="44" y="362"/>
                        </a:lnTo>
                        <a:lnTo>
                          <a:pt x="74" y="350"/>
                        </a:lnTo>
                        <a:lnTo>
                          <a:pt x="100" y="334"/>
                        </a:lnTo>
                        <a:lnTo>
                          <a:pt x="114" y="326"/>
                        </a:lnTo>
                        <a:lnTo>
                          <a:pt x="124" y="316"/>
                        </a:lnTo>
                        <a:lnTo>
                          <a:pt x="124" y="316"/>
                        </a:lnTo>
                        <a:lnTo>
                          <a:pt x="134" y="308"/>
                        </a:lnTo>
                        <a:lnTo>
                          <a:pt x="144" y="300"/>
                        </a:lnTo>
                        <a:lnTo>
                          <a:pt x="154" y="296"/>
                        </a:lnTo>
                        <a:lnTo>
                          <a:pt x="164" y="292"/>
                        </a:lnTo>
                        <a:lnTo>
                          <a:pt x="182" y="288"/>
                        </a:lnTo>
                        <a:lnTo>
                          <a:pt x="196" y="288"/>
                        </a:lnTo>
                        <a:lnTo>
                          <a:pt x="196" y="250"/>
                        </a:lnTo>
                        <a:lnTo>
                          <a:pt x="156" y="22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5" name="Freeform 3059"/>
                  <p:cNvSpPr>
                    <a:spLocks/>
                  </p:cNvSpPr>
                  <p:nvPr/>
                </p:nvSpPr>
                <p:spPr bwMode="auto">
                  <a:xfrm>
                    <a:off x="7947449" y="1575636"/>
                    <a:ext cx="247774" cy="271656"/>
                  </a:xfrm>
                  <a:custGeom>
                    <a:avLst/>
                    <a:gdLst/>
                    <a:ahLst/>
                    <a:cxnLst>
                      <a:cxn ang="0">
                        <a:pos x="2" y="46"/>
                      </a:cxn>
                      <a:cxn ang="0">
                        <a:pos x="12" y="128"/>
                      </a:cxn>
                      <a:cxn ang="0">
                        <a:pos x="64" y="182"/>
                      </a:cxn>
                      <a:cxn ang="0">
                        <a:pos x="60" y="178"/>
                      </a:cxn>
                      <a:cxn ang="0">
                        <a:pos x="64" y="182"/>
                      </a:cxn>
                      <a:cxn ang="0">
                        <a:pos x="66" y="178"/>
                      </a:cxn>
                      <a:cxn ang="0">
                        <a:pos x="150" y="138"/>
                      </a:cxn>
                      <a:cxn ang="0">
                        <a:pos x="164" y="138"/>
                      </a:cxn>
                      <a:cxn ang="0">
                        <a:pos x="166" y="138"/>
                      </a:cxn>
                      <a:cxn ang="0">
                        <a:pos x="138" y="0"/>
                      </a:cxn>
                      <a:cxn ang="0">
                        <a:pos x="0" y="44"/>
                      </a:cxn>
                      <a:cxn ang="0">
                        <a:pos x="2" y="46"/>
                      </a:cxn>
                    </a:cxnLst>
                    <a:rect l="0" t="0" r="r" b="b"/>
                    <a:pathLst>
                      <a:path w="166" h="182">
                        <a:moveTo>
                          <a:pt x="2" y="46"/>
                        </a:moveTo>
                        <a:lnTo>
                          <a:pt x="12" y="128"/>
                        </a:lnTo>
                        <a:lnTo>
                          <a:pt x="64" y="182"/>
                        </a:lnTo>
                        <a:lnTo>
                          <a:pt x="60" y="178"/>
                        </a:lnTo>
                        <a:lnTo>
                          <a:pt x="64" y="182"/>
                        </a:lnTo>
                        <a:lnTo>
                          <a:pt x="66" y="178"/>
                        </a:lnTo>
                        <a:lnTo>
                          <a:pt x="150" y="138"/>
                        </a:lnTo>
                        <a:lnTo>
                          <a:pt x="164" y="138"/>
                        </a:lnTo>
                        <a:lnTo>
                          <a:pt x="166" y="138"/>
                        </a:lnTo>
                        <a:lnTo>
                          <a:pt x="138" y="0"/>
                        </a:lnTo>
                        <a:lnTo>
                          <a:pt x="0" y="44"/>
                        </a:lnTo>
                        <a:lnTo>
                          <a:pt x="2" y="4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76" name="Freeform 3060"/>
                  <p:cNvSpPr>
                    <a:spLocks/>
                  </p:cNvSpPr>
                  <p:nvPr/>
                </p:nvSpPr>
                <p:spPr bwMode="auto">
                  <a:xfrm>
                    <a:off x="7923568" y="1417419"/>
                    <a:ext cx="498533" cy="226877"/>
                  </a:xfrm>
                  <a:custGeom>
                    <a:avLst/>
                    <a:gdLst/>
                    <a:ahLst/>
                    <a:cxnLst>
                      <a:cxn ang="0">
                        <a:pos x="292" y="16"/>
                      </a:cxn>
                      <a:cxn ang="0">
                        <a:pos x="264" y="68"/>
                      </a:cxn>
                      <a:cxn ang="0">
                        <a:pos x="214" y="2"/>
                      </a:cxn>
                      <a:cxn ang="0">
                        <a:pos x="214" y="0"/>
                      </a:cxn>
                      <a:cxn ang="0">
                        <a:pos x="214" y="0"/>
                      </a:cxn>
                      <a:cxn ang="0">
                        <a:pos x="202" y="0"/>
                      </a:cxn>
                      <a:cxn ang="0">
                        <a:pos x="184" y="2"/>
                      </a:cxn>
                      <a:cxn ang="0">
                        <a:pos x="174" y="6"/>
                      </a:cxn>
                      <a:cxn ang="0">
                        <a:pos x="162" y="12"/>
                      </a:cxn>
                      <a:cxn ang="0">
                        <a:pos x="152" y="18"/>
                      </a:cxn>
                      <a:cxn ang="0">
                        <a:pos x="142" y="26"/>
                      </a:cxn>
                      <a:cxn ang="0">
                        <a:pos x="142" y="26"/>
                      </a:cxn>
                      <a:cxn ang="0">
                        <a:pos x="128" y="38"/>
                      </a:cxn>
                      <a:cxn ang="0">
                        <a:pos x="112" y="50"/>
                      </a:cxn>
                      <a:cxn ang="0">
                        <a:pos x="96" y="60"/>
                      </a:cxn>
                      <a:cxn ang="0">
                        <a:pos x="76" y="68"/>
                      </a:cxn>
                      <a:cxn ang="0">
                        <a:pos x="38" y="82"/>
                      </a:cxn>
                      <a:cxn ang="0">
                        <a:pos x="0" y="90"/>
                      </a:cxn>
                      <a:cxn ang="0">
                        <a:pos x="16" y="150"/>
                      </a:cxn>
                      <a:cxn ang="0">
                        <a:pos x="154" y="106"/>
                      </a:cxn>
                      <a:cxn ang="0">
                        <a:pos x="154" y="102"/>
                      </a:cxn>
                      <a:cxn ang="0">
                        <a:pos x="170" y="96"/>
                      </a:cxn>
                      <a:cxn ang="0">
                        <a:pos x="206" y="82"/>
                      </a:cxn>
                      <a:cxn ang="0">
                        <a:pos x="242" y="122"/>
                      </a:cxn>
                      <a:cxn ang="0">
                        <a:pos x="244" y="122"/>
                      </a:cxn>
                      <a:cxn ang="0">
                        <a:pos x="254" y="152"/>
                      </a:cxn>
                      <a:cxn ang="0">
                        <a:pos x="334" y="152"/>
                      </a:cxn>
                      <a:cxn ang="0">
                        <a:pos x="334" y="84"/>
                      </a:cxn>
                      <a:cxn ang="0">
                        <a:pos x="292" y="16"/>
                      </a:cxn>
                    </a:cxnLst>
                    <a:rect l="0" t="0" r="r" b="b"/>
                    <a:pathLst>
                      <a:path w="334" h="152">
                        <a:moveTo>
                          <a:pt x="292" y="16"/>
                        </a:moveTo>
                        <a:lnTo>
                          <a:pt x="264" y="68"/>
                        </a:lnTo>
                        <a:lnTo>
                          <a:pt x="214" y="2"/>
                        </a:lnTo>
                        <a:lnTo>
                          <a:pt x="214" y="0"/>
                        </a:lnTo>
                        <a:lnTo>
                          <a:pt x="214" y="0"/>
                        </a:lnTo>
                        <a:lnTo>
                          <a:pt x="202" y="0"/>
                        </a:lnTo>
                        <a:lnTo>
                          <a:pt x="184" y="2"/>
                        </a:lnTo>
                        <a:lnTo>
                          <a:pt x="174" y="6"/>
                        </a:lnTo>
                        <a:lnTo>
                          <a:pt x="162" y="12"/>
                        </a:lnTo>
                        <a:lnTo>
                          <a:pt x="152" y="18"/>
                        </a:lnTo>
                        <a:lnTo>
                          <a:pt x="142" y="26"/>
                        </a:lnTo>
                        <a:lnTo>
                          <a:pt x="142" y="26"/>
                        </a:lnTo>
                        <a:lnTo>
                          <a:pt x="128" y="38"/>
                        </a:lnTo>
                        <a:lnTo>
                          <a:pt x="112" y="50"/>
                        </a:lnTo>
                        <a:lnTo>
                          <a:pt x="96" y="60"/>
                        </a:lnTo>
                        <a:lnTo>
                          <a:pt x="76" y="68"/>
                        </a:lnTo>
                        <a:lnTo>
                          <a:pt x="38" y="82"/>
                        </a:lnTo>
                        <a:lnTo>
                          <a:pt x="0" y="90"/>
                        </a:lnTo>
                        <a:lnTo>
                          <a:pt x="16" y="150"/>
                        </a:lnTo>
                        <a:lnTo>
                          <a:pt x="154" y="106"/>
                        </a:lnTo>
                        <a:lnTo>
                          <a:pt x="154" y="102"/>
                        </a:lnTo>
                        <a:lnTo>
                          <a:pt x="170" y="96"/>
                        </a:lnTo>
                        <a:lnTo>
                          <a:pt x="206" y="82"/>
                        </a:lnTo>
                        <a:lnTo>
                          <a:pt x="242" y="122"/>
                        </a:lnTo>
                        <a:lnTo>
                          <a:pt x="244" y="122"/>
                        </a:lnTo>
                        <a:lnTo>
                          <a:pt x="254" y="152"/>
                        </a:lnTo>
                        <a:lnTo>
                          <a:pt x="334" y="152"/>
                        </a:lnTo>
                        <a:lnTo>
                          <a:pt x="334" y="84"/>
                        </a:lnTo>
                        <a:lnTo>
                          <a:pt x="292" y="1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nvGrpSpPr>
                  <p:cNvPr id="277" name="Gruppe 312"/>
                  <p:cNvGrpSpPr/>
                  <p:nvPr/>
                </p:nvGrpSpPr>
                <p:grpSpPr>
                  <a:xfrm>
                    <a:off x="1449633" y="664433"/>
                    <a:ext cx="6841620" cy="4722672"/>
                    <a:chOff x="1449633" y="664433"/>
                    <a:chExt cx="6841620" cy="4722672"/>
                  </a:xfrm>
                  <a:grpFill/>
                </p:grpSpPr>
                <p:grpSp>
                  <p:nvGrpSpPr>
                    <p:cNvPr id="282" name="Group 3052"/>
                    <p:cNvGrpSpPr>
                      <a:grpSpLocks/>
                    </p:cNvGrpSpPr>
                    <p:nvPr/>
                  </p:nvGrpSpPr>
                  <p:grpSpPr bwMode="auto">
                    <a:xfrm>
                      <a:off x="1449633" y="664433"/>
                      <a:ext cx="6841620" cy="4644660"/>
                      <a:chOff x="698" y="593"/>
                      <a:chExt cx="4584" cy="3112"/>
                    </a:xfrm>
                    <a:grpFill/>
                  </p:grpSpPr>
                  <p:sp>
                    <p:nvSpPr>
                      <p:cNvPr id="284" name="Freeform 2853"/>
                      <p:cNvSpPr>
                        <a:spLocks/>
                      </p:cNvSpPr>
                      <p:nvPr/>
                    </p:nvSpPr>
                    <p:spPr bwMode="auto">
                      <a:xfrm>
                        <a:off x="5218" y="1345"/>
                        <a:ext cx="2" cy="2"/>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5" name="Freeform 2854"/>
                      <p:cNvSpPr>
                        <a:spLocks/>
                      </p:cNvSpPr>
                      <p:nvPr/>
                    </p:nvSpPr>
                    <p:spPr bwMode="auto">
                      <a:xfrm>
                        <a:off x="1372" y="2223"/>
                        <a:ext cx="580" cy="784"/>
                      </a:xfrm>
                      <a:custGeom>
                        <a:avLst/>
                        <a:gdLst/>
                        <a:ahLst/>
                        <a:cxnLst>
                          <a:cxn ang="0">
                            <a:pos x="128" y="0"/>
                          </a:cxn>
                          <a:cxn ang="0">
                            <a:pos x="112" y="120"/>
                          </a:cxn>
                          <a:cxn ang="0">
                            <a:pos x="72" y="106"/>
                          </a:cxn>
                          <a:cxn ang="0">
                            <a:pos x="42" y="254"/>
                          </a:cxn>
                          <a:cxn ang="0">
                            <a:pos x="74" y="350"/>
                          </a:cxn>
                          <a:cxn ang="0">
                            <a:pos x="62" y="364"/>
                          </a:cxn>
                          <a:cxn ang="0">
                            <a:pos x="12" y="472"/>
                          </a:cxn>
                          <a:cxn ang="0">
                            <a:pos x="24" y="526"/>
                          </a:cxn>
                          <a:cxn ang="0">
                            <a:pos x="0" y="568"/>
                          </a:cxn>
                          <a:cxn ang="0">
                            <a:pos x="362" y="768"/>
                          </a:cxn>
                          <a:cxn ang="0">
                            <a:pos x="538" y="784"/>
                          </a:cxn>
                          <a:cxn ang="0">
                            <a:pos x="580" y="80"/>
                          </a:cxn>
                          <a:cxn ang="0">
                            <a:pos x="128" y="0"/>
                          </a:cxn>
                        </a:cxnLst>
                        <a:rect l="0" t="0" r="r" b="b"/>
                        <a:pathLst>
                          <a:path w="580" h="784">
                            <a:moveTo>
                              <a:pt x="128" y="0"/>
                            </a:moveTo>
                            <a:lnTo>
                              <a:pt x="112" y="120"/>
                            </a:lnTo>
                            <a:lnTo>
                              <a:pt x="72" y="106"/>
                            </a:lnTo>
                            <a:lnTo>
                              <a:pt x="42" y="254"/>
                            </a:lnTo>
                            <a:lnTo>
                              <a:pt x="74" y="350"/>
                            </a:lnTo>
                            <a:lnTo>
                              <a:pt x="62" y="364"/>
                            </a:lnTo>
                            <a:lnTo>
                              <a:pt x="12" y="472"/>
                            </a:lnTo>
                            <a:lnTo>
                              <a:pt x="24" y="526"/>
                            </a:lnTo>
                            <a:lnTo>
                              <a:pt x="0" y="568"/>
                            </a:lnTo>
                            <a:lnTo>
                              <a:pt x="362" y="768"/>
                            </a:lnTo>
                            <a:lnTo>
                              <a:pt x="538" y="784"/>
                            </a:lnTo>
                            <a:lnTo>
                              <a:pt x="580" y="80"/>
                            </a:lnTo>
                            <a:lnTo>
                              <a:pt x="12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6" name="Freeform 2855"/>
                      <p:cNvSpPr>
                        <a:spLocks/>
                      </p:cNvSpPr>
                      <p:nvPr/>
                    </p:nvSpPr>
                    <p:spPr bwMode="auto">
                      <a:xfrm>
                        <a:off x="3418" y="2739"/>
                        <a:ext cx="560" cy="468"/>
                      </a:xfrm>
                      <a:custGeom>
                        <a:avLst/>
                        <a:gdLst/>
                        <a:ahLst/>
                        <a:cxnLst>
                          <a:cxn ang="0">
                            <a:pos x="276" y="240"/>
                          </a:cxn>
                          <a:cxn ang="0">
                            <a:pos x="310" y="90"/>
                          </a:cxn>
                          <a:cxn ang="0">
                            <a:pos x="280" y="0"/>
                          </a:cxn>
                          <a:cxn ang="0">
                            <a:pos x="0" y="20"/>
                          </a:cxn>
                          <a:cxn ang="0">
                            <a:pos x="16" y="154"/>
                          </a:cxn>
                          <a:cxn ang="0">
                            <a:pos x="84" y="274"/>
                          </a:cxn>
                          <a:cxn ang="0">
                            <a:pos x="76" y="372"/>
                          </a:cxn>
                          <a:cxn ang="0">
                            <a:pos x="62" y="416"/>
                          </a:cxn>
                          <a:cxn ang="0">
                            <a:pos x="174" y="440"/>
                          </a:cxn>
                          <a:cxn ang="0">
                            <a:pos x="282" y="426"/>
                          </a:cxn>
                          <a:cxn ang="0">
                            <a:pos x="264" y="468"/>
                          </a:cxn>
                          <a:cxn ang="0">
                            <a:pos x="354" y="468"/>
                          </a:cxn>
                          <a:cxn ang="0">
                            <a:pos x="390" y="426"/>
                          </a:cxn>
                          <a:cxn ang="0">
                            <a:pos x="412" y="454"/>
                          </a:cxn>
                          <a:cxn ang="0">
                            <a:pos x="480" y="400"/>
                          </a:cxn>
                          <a:cxn ang="0">
                            <a:pos x="502" y="454"/>
                          </a:cxn>
                          <a:cxn ang="0">
                            <a:pos x="540" y="454"/>
                          </a:cxn>
                          <a:cxn ang="0">
                            <a:pos x="560" y="412"/>
                          </a:cxn>
                          <a:cxn ang="0">
                            <a:pos x="512" y="344"/>
                          </a:cxn>
                          <a:cxn ang="0">
                            <a:pos x="480" y="304"/>
                          </a:cxn>
                          <a:cxn ang="0">
                            <a:pos x="486" y="302"/>
                          </a:cxn>
                          <a:cxn ang="0">
                            <a:pos x="448" y="230"/>
                          </a:cxn>
                          <a:cxn ang="0">
                            <a:pos x="276" y="240"/>
                          </a:cxn>
                        </a:cxnLst>
                        <a:rect l="0" t="0" r="r" b="b"/>
                        <a:pathLst>
                          <a:path w="560" h="468">
                            <a:moveTo>
                              <a:pt x="276" y="240"/>
                            </a:moveTo>
                            <a:lnTo>
                              <a:pt x="310" y="90"/>
                            </a:lnTo>
                            <a:lnTo>
                              <a:pt x="280" y="0"/>
                            </a:lnTo>
                            <a:lnTo>
                              <a:pt x="0" y="20"/>
                            </a:lnTo>
                            <a:lnTo>
                              <a:pt x="16" y="154"/>
                            </a:lnTo>
                            <a:lnTo>
                              <a:pt x="84" y="274"/>
                            </a:lnTo>
                            <a:lnTo>
                              <a:pt x="76" y="372"/>
                            </a:lnTo>
                            <a:lnTo>
                              <a:pt x="62" y="416"/>
                            </a:lnTo>
                            <a:lnTo>
                              <a:pt x="174" y="440"/>
                            </a:lnTo>
                            <a:lnTo>
                              <a:pt x="282" y="426"/>
                            </a:lnTo>
                            <a:lnTo>
                              <a:pt x="264" y="468"/>
                            </a:lnTo>
                            <a:lnTo>
                              <a:pt x="354" y="468"/>
                            </a:lnTo>
                            <a:lnTo>
                              <a:pt x="390" y="426"/>
                            </a:lnTo>
                            <a:lnTo>
                              <a:pt x="412" y="454"/>
                            </a:lnTo>
                            <a:lnTo>
                              <a:pt x="480" y="400"/>
                            </a:lnTo>
                            <a:lnTo>
                              <a:pt x="502" y="454"/>
                            </a:lnTo>
                            <a:lnTo>
                              <a:pt x="540" y="454"/>
                            </a:lnTo>
                            <a:lnTo>
                              <a:pt x="560" y="412"/>
                            </a:lnTo>
                            <a:lnTo>
                              <a:pt x="512" y="344"/>
                            </a:lnTo>
                            <a:lnTo>
                              <a:pt x="480" y="304"/>
                            </a:lnTo>
                            <a:lnTo>
                              <a:pt x="486" y="302"/>
                            </a:lnTo>
                            <a:lnTo>
                              <a:pt x="448" y="230"/>
                            </a:lnTo>
                            <a:lnTo>
                              <a:pt x="276" y="24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7" name="Freeform 2856"/>
                      <p:cNvSpPr>
                        <a:spLocks/>
                      </p:cNvSpPr>
                      <p:nvPr/>
                    </p:nvSpPr>
                    <p:spPr bwMode="auto">
                      <a:xfrm>
                        <a:off x="1918" y="2303"/>
                        <a:ext cx="632" cy="712"/>
                      </a:xfrm>
                      <a:custGeom>
                        <a:avLst/>
                        <a:gdLst/>
                        <a:ahLst/>
                        <a:cxnLst>
                          <a:cxn ang="0">
                            <a:pos x="254" y="634"/>
                          </a:cxn>
                          <a:cxn ang="0">
                            <a:pos x="620" y="642"/>
                          </a:cxn>
                          <a:cxn ang="0">
                            <a:pos x="612" y="82"/>
                          </a:cxn>
                          <a:cxn ang="0">
                            <a:pos x="632" y="82"/>
                          </a:cxn>
                          <a:cxn ang="0">
                            <a:pos x="632" y="14"/>
                          </a:cxn>
                          <a:cxn ang="0">
                            <a:pos x="40" y="0"/>
                          </a:cxn>
                          <a:cxn ang="0">
                            <a:pos x="0" y="704"/>
                          </a:cxn>
                          <a:cxn ang="0">
                            <a:pos x="104" y="712"/>
                          </a:cxn>
                          <a:cxn ang="0">
                            <a:pos x="104" y="660"/>
                          </a:cxn>
                          <a:cxn ang="0">
                            <a:pos x="252" y="676"/>
                          </a:cxn>
                          <a:cxn ang="0">
                            <a:pos x="256" y="678"/>
                          </a:cxn>
                          <a:cxn ang="0">
                            <a:pos x="252" y="674"/>
                          </a:cxn>
                          <a:cxn ang="0">
                            <a:pos x="254" y="634"/>
                          </a:cxn>
                        </a:cxnLst>
                        <a:rect l="0" t="0" r="r" b="b"/>
                        <a:pathLst>
                          <a:path w="632" h="712">
                            <a:moveTo>
                              <a:pt x="254" y="634"/>
                            </a:moveTo>
                            <a:lnTo>
                              <a:pt x="620" y="642"/>
                            </a:lnTo>
                            <a:lnTo>
                              <a:pt x="612" y="82"/>
                            </a:lnTo>
                            <a:lnTo>
                              <a:pt x="632" y="82"/>
                            </a:lnTo>
                            <a:lnTo>
                              <a:pt x="632" y="14"/>
                            </a:lnTo>
                            <a:lnTo>
                              <a:pt x="40" y="0"/>
                            </a:lnTo>
                            <a:lnTo>
                              <a:pt x="0" y="704"/>
                            </a:lnTo>
                            <a:lnTo>
                              <a:pt x="104" y="712"/>
                            </a:lnTo>
                            <a:lnTo>
                              <a:pt x="104" y="660"/>
                            </a:lnTo>
                            <a:lnTo>
                              <a:pt x="252" y="676"/>
                            </a:lnTo>
                            <a:lnTo>
                              <a:pt x="256" y="678"/>
                            </a:lnTo>
                            <a:lnTo>
                              <a:pt x="252" y="674"/>
                            </a:lnTo>
                            <a:lnTo>
                              <a:pt x="254" y="63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8" name="Freeform 2857"/>
                      <p:cNvSpPr>
                        <a:spLocks/>
                      </p:cNvSpPr>
                      <p:nvPr/>
                    </p:nvSpPr>
                    <p:spPr bwMode="auto">
                      <a:xfrm>
                        <a:off x="2176" y="2383"/>
                        <a:ext cx="1322" cy="1322"/>
                      </a:xfrm>
                      <a:custGeom>
                        <a:avLst/>
                        <a:gdLst/>
                        <a:ahLst/>
                        <a:cxnLst>
                          <a:cxn ang="0">
                            <a:pos x="1312" y="726"/>
                          </a:cxn>
                          <a:cxn ang="0">
                            <a:pos x="1322" y="630"/>
                          </a:cxn>
                          <a:cxn ang="0">
                            <a:pos x="1252" y="512"/>
                          </a:cxn>
                          <a:cxn ang="0">
                            <a:pos x="1234" y="376"/>
                          </a:cxn>
                          <a:cxn ang="0">
                            <a:pos x="1234" y="376"/>
                          </a:cxn>
                          <a:cxn ang="0">
                            <a:pos x="1234" y="376"/>
                          </a:cxn>
                          <a:cxn ang="0">
                            <a:pos x="1230" y="338"/>
                          </a:cxn>
                          <a:cxn ang="0">
                            <a:pos x="1120" y="292"/>
                          </a:cxn>
                          <a:cxn ang="0">
                            <a:pos x="852" y="304"/>
                          </a:cxn>
                          <a:cxn ang="0">
                            <a:pos x="644" y="236"/>
                          </a:cxn>
                          <a:cxn ang="0">
                            <a:pos x="632" y="0"/>
                          </a:cxn>
                          <a:cxn ang="0">
                            <a:pos x="362" y="10"/>
                          </a:cxn>
                          <a:cxn ang="0">
                            <a:pos x="370" y="572"/>
                          </a:cxn>
                          <a:cxn ang="0">
                            <a:pos x="0" y="562"/>
                          </a:cxn>
                          <a:cxn ang="0">
                            <a:pos x="0" y="600"/>
                          </a:cxn>
                          <a:cxn ang="0">
                            <a:pos x="174" y="756"/>
                          </a:cxn>
                          <a:cxn ang="0">
                            <a:pos x="212" y="878"/>
                          </a:cxn>
                          <a:cxn ang="0">
                            <a:pos x="372" y="958"/>
                          </a:cxn>
                          <a:cxn ang="0">
                            <a:pos x="442" y="850"/>
                          </a:cxn>
                          <a:cxn ang="0">
                            <a:pos x="562" y="864"/>
                          </a:cxn>
                          <a:cxn ang="0">
                            <a:pos x="770" y="1254"/>
                          </a:cxn>
                          <a:cxn ang="0">
                            <a:pos x="978" y="1322"/>
                          </a:cxn>
                          <a:cxn ang="0">
                            <a:pos x="1008" y="1268"/>
                          </a:cxn>
                          <a:cxn ang="0">
                            <a:pos x="968" y="1146"/>
                          </a:cxn>
                          <a:cxn ang="0">
                            <a:pos x="968" y="1014"/>
                          </a:cxn>
                          <a:cxn ang="0">
                            <a:pos x="1286" y="768"/>
                          </a:cxn>
                          <a:cxn ang="0">
                            <a:pos x="1300" y="772"/>
                          </a:cxn>
                          <a:cxn ang="0">
                            <a:pos x="1298" y="770"/>
                          </a:cxn>
                          <a:cxn ang="0">
                            <a:pos x="1312" y="726"/>
                          </a:cxn>
                        </a:cxnLst>
                        <a:rect l="0" t="0" r="r" b="b"/>
                        <a:pathLst>
                          <a:path w="1322" h="1322">
                            <a:moveTo>
                              <a:pt x="1312" y="726"/>
                            </a:moveTo>
                            <a:lnTo>
                              <a:pt x="1322" y="630"/>
                            </a:lnTo>
                            <a:lnTo>
                              <a:pt x="1252" y="512"/>
                            </a:lnTo>
                            <a:lnTo>
                              <a:pt x="1234" y="376"/>
                            </a:lnTo>
                            <a:lnTo>
                              <a:pt x="1234" y="376"/>
                            </a:lnTo>
                            <a:lnTo>
                              <a:pt x="1234" y="376"/>
                            </a:lnTo>
                            <a:lnTo>
                              <a:pt x="1230" y="338"/>
                            </a:lnTo>
                            <a:lnTo>
                              <a:pt x="1120" y="292"/>
                            </a:lnTo>
                            <a:lnTo>
                              <a:pt x="852" y="304"/>
                            </a:lnTo>
                            <a:lnTo>
                              <a:pt x="644" y="236"/>
                            </a:lnTo>
                            <a:lnTo>
                              <a:pt x="632" y="0"/>
                            </a:lnTo>
                            <a:lnTo>
                              <a:pt x="362" y="10"/>
                            </a:lnTo>
                            <a:lnTo>
                              <a:pt x="370" y="572"/>
                            </a:lnTo>
                            <a:lnTo>
                              <a:pt x="0" y="562"/>
                            </a:lnTo>
                            <a:lnTo>
                              <a:pt x="0" y="600"/>
                            </a:lnTo>
                            <a:lnTo>
                              <a:pt x="174" y="756"/>
                            </a:lnTo>
                            <a:lnTo>
                              <a:pt x="212" y="878"/>
                            </a:lnTo>
                            <a:lnTo>
                              <a:pt x="372" y="958"/>
                            </a:lnTo>
                            <a:lnTo>
                              <a:pt x="442" y="850"/>
                            </a:lnTo>
                            <a:lnTo>
                              <a:pt x="562" y="864"/>
                            </a:lnTo>
                            <a:lnTo>
                              <a:pt x="770" y="1254"/>
                            </a:lnTo>
                            <a:lnTo>
                              <a:pt x="978" y="1322"/>
                            </a:lnTo>
                            <a:lnTo>
                              <a:pt x="1008" y="1268"/>
                            </a:lnTo>
                            <a:lnTo>
                              <a:pt x="968" y="1146"/>
                            </a:lnTo>
                            <a:lnTo>
                              <a:pt x="968" y="1014"/>
                            </a:lnTo>
                            <a:lnTo>
                              <a:pt x="1286" y="768"/>
                            </a:lnTo>
                            <a:lnTo>
                              <a:pt x="1300" y="772"/>
                            </a:lnTo>
                            <a:lnTo>
                              <a:pt x="1298" y="770"/>
                            </a:lnTo>
                            <a:lnTo>
                              <a:pt x="1312" y="72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9" name="Freeform 2858"/>
                      <p:cNvSpPr>
                        <a:spLocks/>
                      </p:cNvSpPr>
                      <p:nvPr/>
                    </p:nvSpPr>
                    <p:spPr bwMode="auto">
                      <a:xfrm>
                        <a:off x="3342" y="2335"/>
                        <a:ext cx="450" cy="420"/>
                      </a:xfrm>
                      <a:custGeom>
                        <a:avLst/>
                        <a:gdLst/>
                        <a:ahLst/>
                        <a:cxnLst>
                          <a:cxn ang="0">
                            <a:pos x="72" y="382"/>
                          </a:cxn>
                          <a:cxn ang="0">
                            <a:pos x="76" y="420"/>
                          </a:cxn>
                          <a:cxn ang="0">
                            <a:pos x="356" y="400"/>
                          </a:cxn>
                          <a:cxn ang="0">
                            <a:pos x="346" y="360"/>
                          </a:cxn>
                          <a:cxn ang="0">
                            <a:pos x="450" y="42"/>
                          </a:cxn>
                          <a:cxn ang="0">
                            <a:pos x="366" y="48"/>
                          </a:cxn>
                          <a:cxn ang="0">
                            <a:pos x="384" y="0"/>
                          </a:cxn>
                          <a:cxn ang="0">
                            <a:pos x="0" y="8"/>
                          </a:cxn>
                          <a:cxn ang="0">
                            <a:pos x="32" y="366"/>
                          </a:cxn>
                          <a:cxn ang="0">
                            <a:pos x="72" y="382"/>
                          </a:cxn>
                        </a:cxnLst>
                        <a:rect l="0" t="0" r="r" b="b"/>
                        <a:pathLst>
                          <a:path w="450" h="420">
                            <a:moveTo>
                              <a:pt x="72" y="382"/>
                            </a:moveTo>
                            <a:lnTo>
                              <a:pt x="76" y="420"/>
                            </a:lnTo>
                            <a:lnTo>
                              <a:pt x="356" y="400"/>
                            </a:lnTo>
                            <a:lnTo>
                              <a:pt x="346" y="360"/>
                            </a:lnTo>
                            <a:lnTo>
                              <a:pt x="450" y="42"/>
                            </a:lnTo>
                            <a:lnTo>
                              <a:pt x="366" y="48"/>
                            </a:lnTo>
                            <a:lnTo>
                              <a:pt x="384" y="0"/>
                            </a:lnTo>
                            <a:lnTo>
                              <a:pt x="0" y="8"/>
                            </a:lnTo>
                            <a:lnTo>
                              <a:pt x="32" y="366"/>
                            </a:lnTo>
                            <a:lnTo>
                              <a:pt x="72" y="38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0" name="Freeform 2859"/>
                      <p:cNvSpPr>
                        <a:spLocks/>
                      </p:cNvSpPr>
                      <p:nvPr/>
                    </p:nvSpPr>
                    <p:spPr bwMode="auto">
                      <a:xfrm>
                        <a:off x="2556" y="2289"/>
                        <a:ext cx="808" cy="408"/>
                      </a:xfrm>
                      <a:custGeom>
                        <a:avLst/>
                        <a:gdLst/>
                        <a:ahLst/>
                        <a:cxnLst>
                          <a:cxn ang="0">
                            <a:pos x="0" y="28"/>
                          </a:cxn>
                          <a:cxn ang="0">
                            <a:pos x="2" y="96"/>
                          </a:cxn>
                          <a:cxn ang="0">
                            <a:pos x="256" y="88"/>
                          </a:cxn>
                          <a:cxn ang="0">
                            <a:pos x="270" y="326"/>
                          </a:cxn>
                          <a:cxn ang="0">
                            <a:pos x="472" y="394"/>
                          </a:cxn>
                          <a:cxn ang="0">
                            <a:pos x="742" y="380"/>
                          </a:cxn>
                          <a:cxn ang="0">
                            <a:pos x="808" y="408"/>
                          </a:cxn>
                          <a:cxn ang="0">
                            <a:pos x="774" y="0"/>
                          </a:cxn>
                          <a:cxn ang="0">
                            <a:pos x="0" y="28"/>
                          </a:cxn>
                        </a:cxnLst>
                        <a:rect l="0" t="0" r="r" b="b"/>
                        <a:pathLst>
                          <a:path w="808" h="408">
                            <a:moveTo>
                              <a:pt x="0" y="28"/>
                            </a:moveTo>
                            <a:lnTo>
                              <a:pt x="2" y="96"/>
                            </a:lnTo>
                            <a:lnTo>
                              <a:pt x="256" y="88"/>
                            </a:lnTo>
                            <a:lnTo>
                              <a:pt x="270" y="326"/>
                            </a:lnTo>
                            <a:lnTo>
                              <a:pt x="472" y="394"/>
                            </a:lnTo>
                            <a:lnTo>
                              <a:pt x="742" y="380"/>
                            </a:lnTo>
                            <a:lnTo>
                              <a:pt x="808" y="408"/>
                            </a:lnTo>
                            <a:lnTo>
                              <a:pt x="774" y="0"/>
                            </a:lnTo>
                            <a:lnTo>
                              <a:pt x="0" y="2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1" name="Freeform 2860"/>
                      <p:cNvSpPr>
                        <a:spLocks/>
                      </p:cNvSpPr>
                      <p:nvPr/>
                    </p:nvSpPr>
                    <p:spPr bwMode="auto">
                      <a:xfrm>
                        <a:off x="1500" y="1631"/>
                        <a:ext cx="500" cy="668"/>
                      </a:xfrm>
                      <a:custGeom>
                        <a:avLst/>
                        <a:gdLst/>
                        <a:ahLst/>
                        <a:cxnLst>
                          <a:cxn ang="0">
                            <a:pos x="0" y="588"/>
                          </a:cxn>
                          <a:cxn ang="0">
                            <a:pos x="452" y="668"/>
                          </a:cxn>
                          <a:cxn ang="0">
                            <a:pos x="500" y="202"/>
                          </a:cxn>
                          <a:cxn ang="0">
                            <a:pos x="312" y="176"/>
                          </a:cxn>
                          <a:cxn ang="0">
                            <a:pos x="336" y="54"/>
                          </a:cxn>
                          <a:cxn ang="0">
                            <a:pos x="76" y="0"/>
                          </a:cxn>
                          <a:cxn ang="0">
                            <a:pos x="0" y="588"/>
                          </a:cxn>
                        </a:cxnLst>
                        <a:rect l="0" t="0" r="r" b="b"/>
                        <a:pathLst>
                          <a:path w="500" h="668">
                            <a:moveTo>
                              <a:pt x="0" y="588"/>
                            </a:moveTo>
                            <a:lnTo>
                              <a:pt x="452" y="668"/>
                            </a:lnTo>
                            <a:lnTo>
                              <a:pt x="500" y="202"/>
                            </a:lnTo>
                            <a:lnTo>
                              <a:pt x="312" y="176"/>
                            </a:lnTo>
                            <a:lnTo>
                              <a:pt x="336" y="54"/>
                            </a:lnTo>
                            <a:lnTo>
                              <a:pt x="76" y="0"/>
                            </a:lnTo>
                            <a:lnTo>
                              <a:pt x="0" y="58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2" name="Freeform 2861"/>
                      <p:cNvSpPr>
                        <a:spLocks/>
                      </p:cNvSpPr>
                      <p:nvPr/>
                    </p:nvSpPr>
                    <p:spPr bwMode="auto">
                      <a:xfrm>
                        <a:off x="3546" y="929"/>
                        <a:ext cx="532" cy="252"/>
                      </a:xfrm>
                      <a:custGeom>
                        <a:avLst/>
                        <a:gdLst/>
                        <a:ahLst/>
                        <a:cxnLst>
                          <a:cxn ang="0">
                            <a:pos x="230" y="214"/>
                          </a:cxn>
                          <a:cxn ang="0">
                            <a:pos x="236" y="252"/>
                          </a:cxn>
                          <a:cxn ang="0">
                            <a:pos x="262" y="252"/>
                          </a:cxn>
                          <a:cxn ang="0">
                            <a:pos x="284" y="200"/>
                          </a:cxn>
                          <a:cxn ang="0">
                            <a:pos x="362" y="160"/>
                          </a:cxn>
                          <a:cxn ang="0">
                            <a:pos x="444" y="122"/>
                          </a:cxn>
                          <a:cxn ang="0">
                            <a:pos x="532" y="122"/>
                          </a:cxn>
                          <a:cxn ang="0">
                            <a:pos x="444" y="14"/>
                          </a:cxn>
                          <a:cxn ang="0">
                            <a:pos x="306" y="96"/>
                          </a:cxn>
                          <a:cxn ang="0">
                            <a:pos x="244" y="106"/>
                          </a:cxn>
                          <a:cxn ang="0">
                            <a:pos x="206" y="70"/>
                          </a:cxn>
                          <a:cxn ang="0">
                            <a:pos x="154" y="80"/>
                          </a:cxn>
                          <a:cxn ang="0">
                            <a:pos x="174" y="0"/>
                          </a:cxn>
                          <a:cxn ang="0">
                            <a:pos x="4" y="134"/>
                          </a:cxn>
                          <a:cxn ang="0">
                            <a:pos x="0" y="134"/>
                          </a:cxn>
                          <a:cxn ang="0">
                            <a:pos x="18" y="186"/>
                          </a:cxn>
                          <a:cxn ang="0">
                            <a:pos x="230" y="214"/>
                          </a:cxn>
                        </a:cxnLst>
                        <a:rect l="0" t="0" r="r" b="b"/>
                        <a:pathLst>
                          <a:path w="532" h="252">
                            <a:moveTo>
                              <a:pt x="230" y="214"/>
                            </a:moveTo>
                            <a:lnTo>
                              <a:pt x="236" y="252"/>
                            </a:lnTo>
                            <a:lnTo>
                              <a:pt x="262" y="252"/>
                            </a:lnTo>
                            <a:lnTo>
                              <a:pt x="284" y="200"/>
                            </a:lnTo>
                            <a:lnTo>
                              <a:pt x="362" y="160"/>
                            </a:lnTo>
                            <a:lnTo>
                              <a:pt x="444" y="122"/>
                            </a:lnTo>
                            <a:lnTo>
                              <a:pt x="532" y="122"/>
                            </a:lnTo>
                            <a:lnTo>
                              <a:pt x="444" y="14"/>
                            </a:lnTo>
                            <a:lnTo>
                              <a:pt x="306" y="96"/>
                            </a:lnTo>
                            <a:lnTo>
                              <a:pt x="244" y="106"/>
                            </a:lnTo>
                            <a:lnTo>
                              <a:pt x="206" y="70"/>
                            </a:lnTo>
                            <a:lnTo>
                              <a:pt x="154" y="80"/>
                            </a:lnTo>
                            <a:lnTo>
                              <a:pt x="174" y="0"/>
                            </a:lnTo>
                            <a:lnTo>
                              <a:pt x="4" y="134"/>
                            </a:lnTo>
                            <a:lnTo>
                              <a:pt x="0" y="134"/>
                            </a:lnTo>
                            <a:lnTo>
                              <a:pt x="18" y="186"/>
                            </a:lnTo>
                            <a:lnTo>
                              <a:pt x="230" y="21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3" name="Freeform 2862"/>
                      <p:cNvSpPr>
                        <a:spLocks/>
                      </p:cNvSpPr>
                      <p:nvPr/>
                    </p:nvSpPr>
                    <p:spPr bwMode="auto">
                      <a:xfrm>
                        <a:off x="1958" y="1833"/>
                        <a:ext cx="676" cy="476"/>
                      </a:xfrm>
                      <a:custGeom>
                        <a:avLst/>
                        <a:gdLst/>
                        <a:ahLst/>
                        <a:cxnLst>
                          <a:cxn ang="0">
                            <a:pos x="670" y="118"/>
                          </a:cxn>
                          <a:cxn ang="0">
                            <a:pos x="662" y="26"/>
                          </a:cxn>
                          <a:cxn ang="0">
                            <a:pos x="50" y="0"/>
                          </a:cxn>
                          <a:cxn ang="0">
                            <a:pos x="0" y="466"/>
                          </a:cxn>
                          <a:cxn ang="0">
                            <a:pos x="594" y="476"/>
                          </a:cxn>
                          <a:cxn ang="0">
                            <a:pos x="676" y="474"/>
                          </a:cxn>
                          <a:cxn ang="0">
                            <a:pos x="668" y="118"/>
                          </a:cxn>
                          <a:cxn ang="0">
                            <a:pos x="670" y="118"/>
                          </a:cxn>
                        </a:cxnLst>
                        <a:rect l="0" t="0" r="r" b="b"/>
                        <a:pathLst>
                          <a:path w="676" h="476">
                            <a:moveTo>
                              <a:pt x="670" y="118"/>
                            </a:moveTo>
                            <a:lnTo>
                              <a:pt x="662" y="26"/>
                            </a:lnTo>
                            <a:lnTo>
                              <a:pt x="50" y="0"/>
                            </a:lnTo>
                            <a:lnTo>
                              <a:pt x="0" y="466"/>
                            </a:lnTo>
                            <a:lnTo>
                              <a:pt x="594" y="476"/>
                            </a:lnTo>
                            <a:lnTo>
                              <a:pt x="676" y="474"/>
                            </a:lnTo>
                            <a:lnTo>
                              <a:pt x="668" y="118"/>
                            </a:lnTo>
                            <a:lnTo>
                              <a:pt x="670" y="11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4" name="Freeform 2863"/>
                      <p:cNvSpPr>
                        <a:spLocks/>
                      </p:cNvSpPr>
                      <p:nvPr/>
                    </p:nvSpPr>
                    <p:spPr bwMode="auto">
                      <a:xfrm>
                        <a:off x="698" y="1433"/>
                        <a:ext cx="742" cy="1358"/>
                      </a:xfrm>
                      <a:custGeom>
                        <a:avLst/>
                        <a:gdLst/>
                        <a:ahLst/>
                        <a:cxnLst>
                          <a:cxn ang="0">
                            <a:pos x="694" y="1314"/>
                          </a:cxn>
                          <a:cxn ang="0">
                            <a:pos x="682" y="1260"/>
                          </a:cxn>
                          <a:cxn ang="0">
                            <a:pos x="732" y="1150"/>
                          </a:cxn>
                          <a:cxn ang="0">
                            <a:pos x="742" y="1140"/>
                          </a:cxn>
                          <a:cxn ang="0">
                            <a:pos x="712" y="1044"/>
                          </a:cxn>
                          <a:cxn ang="0">
                            <a:pos x="324" y="482"/>
                          </a:cxn>
                          <a:cxn ang="0">
                            <a:pos x="334" y="454"/>
                          </a:cxn>
                          <a:cxn ang="0">
                            <a:pos x="324" y="426"/>
                          </a:cxn>
                          <a:cxn ang="0">
                            <a:pos x="402" y="98"/>
                          </a:cxn>
                          <a:cxn ang="0">
                            <a:pos x="70" y="8"/>
                          </a:cxn>
                          <a:cxn ang="0">
                            <a:pos x="68" y="0"/>
                          </a:cxn>
                          <a:cxn ang="0">
                            <a:pos x="70" y="34"/>
                          </a:cxn>
                          <a:cxn ang="0">
                            <a:pos x="0" y="156"/>
                          </a:cxn>
                          <a:cxn ang="0">
                            <a:pos x="42" y="278"/>
                          </a:cxn>
                          <a:cxn ang="0">
                            <a:pos x="32" y="384"/>
                          </a:cxn>
                          <a:cxn ang="0">
                            <a:pos x="102" y="534"/>
                          </a:cxn>
                          <a:cxn ang="0">
                            <a:pos x="102" y="614"/>
                          </a:cxn>
                          <a:cxn ang="0">
                            <a:pos x="122" y="682"/>
                          </a:cxn>
                          <a:cxn ang="0">
                            <a:pos x="90" y="734"/>
                          </a:cxn>
                          <a:cxn ang="0">
                            <a:pos x="190" y="870"/>
                          </a:cxn>
                          <a:cxn ang="0">
                            <a:pos x="190" y="1006"/>
                          </a:cxn>
                          <a:cxn ang="0">
                            <a:pos x="360" y="1114"/>
                          </a:cxn>
                          <a:cxn ang="0">
                            <a:pos x="360" y="1178"/>
                          </a:cxn>
                          <a:cxn ang="0">
                            <a:pos x="450" y="1236"/>
                          </a:cxn>
                          <a:cxn ang="0">
                            <a:pos x="450" y="1342"/>
                          </a:cxn>
                          <a:cxn ang="0">
                            <a:pos x="668" y="1354"/>
                          </a:cxn>
                          <a:cxn ang="0">
                            <a:pos x="672" y="1358"/>
                          </a:cxn>
                          <a:cxn ang="0">
                            <a:pos x="668" y="1354"/>
                          </a:cxn>
                          <a:cxn ang="0">
                            <a:pos x="694" y="1314"/>
                          </a:cxn>
                        </a:cxnLst>
                        <a:rect l="0" t="0" r="r" b="b"/>
                        <a:pathLst>
                          <a:path w="742" h="1358">
                            <a:moveTo>
                              <a:pt x="694" y="1314"/>
                            </a:moveTo>
                            <a:lnTo>
                              <a:pt x="682" y="1260"/>
                            </a:lnTo>
                            <a:lnTo>
                              <a:pt x="732" y="1150"/>
                            </a:lnTo>
                            <a:lnTo>
                              <a:pt x="742" y="1140"/>
                            </a:lnTo>
                            <a:lnTo>
                              <a:pt x="712" y="1044"/>
                            </a:lnTo>
                            <a:lnTo>
                              <a:pt x="324" y="482"/>
                            </a:lnTo>
                            <a:lnTo>
                              <a:pt x="334" y="454"/>
                            </a:lnTo>
                            <a:lnTo>
                              <a:pt x="324" y="426"/>
                            </a:lnTo>
                            <a:lnTo>
                              <a:pt x="402" y="98"/>
                            </a:lnTo>
                            <a:lnTo>
                              <a:pt x="70" y="8"/>
                            </a:lnTo>
                            <a:lnTo>
                              <a:pt x="68" y="0"/>
                            </a:lnTo>
                            <a:lnTo>
                              <a:pt x="70" y="34"/>
                            </a:lnTo>
                            <a:lnTo>
                              <a:pt x="0" y="156"/>
                            </a:lnTo>
                            <a:lnTo>
                              <a:pt x="42" y="278"/>
                            </a:lnTo>
                            <a:lnTo>
                              <a:pt x="32" y="384"/>
                            </a:lnTo>
                            <a:lnTo>
                              <a:pt x="102" y="534"/>
                            </a:lnTo>
                            <a:lnTo>
                              <a:pt x="102" y="614"/>
                            </a:lnTo>
                            <a:lnTo>
                              <a:pt x="122" y="682"/>
                            </a:lnTo>
                            <a:lnTo>
                              <a:pt x="90" y="734"/>
                            </a:lnTo>
                            <a:lnTo>
                              <a:pt x="190" y="870"/>
                            </a:lnTo>
                            <a:lnTo>
                              <a:pt x="190" y="1006"/>
                            </a:lnTo>
                            <a:lnTo>
                              <a:pt x="360" y="1114"/>
                            </a:lnTo>
                            <a:lnTo>
                              <a:pt x="360" y="1178"/>
                            </a:lnTo>
                            <a:lnTo>
                              <a:pt x="450" y="1236"/>
                            </a:lnTo>
                            <a:lnTo>
                              <a:pt x="450" y="1342"/>
                            </a:lnTo>
                            <a:lnTo>
                              <a:pt x="668" y="1354"/>
                            </a:lnTo>
                            <a:lnTo>
                              <a:pt x="672" y="1358"/>
                            </a:lnTo>
                            <a:lnTo>
                              <a:pt x="668" y="1354"/>
                            </a:lnTo>
                            <a:lnTo>
                              <a:pt x="694" y="131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5" name="Freeform 2864"/>
                      <p:cNvSpPr>
                        <a:spLocks/>
                      </p:cNvSpPr>
                      <p:nvPr/>
                    </p:nvSpPr>
                    <p:spPr bwMode="auto">
                      <a:xfrm>
                        <a:off x="1816" y="1295"/>
                        <a:ext cx="656" cy="550"/>
                      </a:xfrm>
                      <a:custGeom>
                        <a:avLst/>
                        <a:gdLst/>
                        <a:ahLst/>
                        <a:cxnLst>
                          <a:cxn ang="0">
                            <a:pos x="26" y="388"/>
                          </a:cxn>
                          <a:cxn ang="0">
                            <a:pos x="28" y="388"/>
                          </a:cxn>
                          <a:cxn ang="0">
                            <a:pos x="0" y="508"/>
                          </a:cxn>
                          <a:cxn ang="0">
                            <a:pos x="192" y="536"/>
                          </a:cxn>
                          <a:cxn ang="0">
                            <a:pos x="650" y="550"/>
                          </a:cxn>
                          <a:cxn ang="0">
                            <a:pos x="656" y="40"/>
                          </a:cxn>
                          <a:cxn ang="0">
                            <a:pos x="64" y="0"/>
                          </a:cxn>
                          <a:cxn ang="0">
                            <a:pos x="26" y="388"/>
                          </a:cxn>
                        </a:cxnLst>
                        <a:rect l="0" t="0" r="r" b="b"/>
                        <a:pathLst>
                          <a:path w="656" h="550">
                            <a:moveTo>
                              <a:pt x="26" y="388"/>
                            </a:moveTo>
                            <a:lnTo>
                              <a:pt x="28" y="388"/>
                            </a:lnTo>
                            <a:lnTo>
                              <a:pt x="0" y="508"/>
                            </a:lnTo>
                            <a:lnTo>
                              <a:pt x="192" y="536"/>
                            </a:lnTo>
                            <a:lnTo>
                              <a:pt x="650" y="550"/>
                            </a:lnTo>
                            <a:lnTo>
                              <a:pt x="656" y="40"/>
                            </a:lnTo>
                            <a:lnTo>
                              <a:pt x="64" y="0"/>
                            </a:lnTo>
                            <a:lnTo>
                              <a:pt x="26" y="38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6" name="Freeform 2865"/>
                      <p:cNvSpPr>
                        <a:spLocks/>
                      </p:cNvSpPr>
                      <p:nvPr/>
                    </p:nvSpPr>
                    <p:spPr bwMode="auto">
                      <a:xfrm>
                        <a:off x="3766" y="2147"/>
                        <a:ext cx="762" cy="324"/>
                      </a:xfrm>
                      <a:custGeom>
                        <a:avLst/>
                        <a:gdLst/>
                        <a:ahLst/>
                        <a:cxnLst>
                          <a:cxn ang="0">
                            <a:pos x="206" y="304"/>
                          </a:cxn>
                          <a:cxn ang="0">
                            <a:pos x="554" y="246"/>
                          </a:cxn>
                          <a:cxn ang="0">
                            <a:pos x="580" y="154"/>
                          </a:cxn>
                          <a:cxn ang="0">
                            <a:pos x="752" y="30"/>
                          </a:cxn>
                          <a:cxn ang="0">
                            <a:pos x="762" y="0"/>
                          </a:cxn>
                          <a:cxn ang="0">
                            <a:pos x="762" y="0"/>
                          </a:cxn>
                          <a:cxn ang="0">
                            <a:pos x="332" y="88"/>
                          </a:cxn>
                          <a:cxn ang="0">
                            <a:pos x="54" y="134"/>
                          </a:cxn>
                          <a:cxn ang="0">
                            <a:pos x="32" y="134"/>
                          </a:cxn>
                          <a:cxn ang="0">
                            <a:pos x="32" y="230"/>
                          </a:cxn>
                          <a:cxn ang="0">
                            <a:pos x="30" y="230"/>
                          </a:cxn>
                          <a:cxn ang="0">
                            <a:pos x="0" y="324"/>
                          </a:cxn>
                          <a:cxn ang="0">
                            <a:pos x="206" y="304"/>
                          </a:cxn>
                        </a:cxnLst>
                        <a:rect l="0" t="0" r="r" b="b"/>
                        <a:pathLst>
                          <a:path w="762" h="324">
                            <a:moveTo>
                              <a:pt x="206" y="304"/>
                            </a:moveTo>
                            <a:lnTo>
                              <a:pt x="554" y="246"/>
                            </a:lnTo>
                            <a:lnTo>
                              <a:pt x="580" y="154"/>
                            </a:lnTo>
                            <a:lnTo>
                              <a:pt x="752" y="30"/>
                            </a:lnTo>
                            <a:lnTo>
                              <a:pt x="762" y="0"/>
                            </a:lnTo>
                            <a:lnTo>
                              <a:pt x="762" y="0"/>
                            </a:lnTo>
                            <a:lnTo>
                              <a:pt x="332" y="88"/>
                            </a:lnTo>
                            <a:lnTo>
                              <a:pt x="54" y="134"/>
                            </a:lnTo>
                            <a:lnTo>
                              <a:pt x="32" y="134"/>
                            </a:lnTo>
                            <a:lnTo>
                              <a:pt x="32" y="230"/>
                            </a:lnTo>
                            <a:lnTo>
                              <a:pt x="30" y="230"/>
                            </a:lnTo>
                            <a:lnTo>
                              <a:pt x="0" y="324"/>
                            </a:lnTo>
                            <a:lnTo>
                              <a:pt x="206" y="30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7" name="Freeform 2866"/>
                      <p:cNvSpPr>
                        <a:spLocks/>
                      </p:cNvSpPr>
                      <p:nvPr/>
                    </p:nvSpPr>
                    <p:spPr bwMode="auto">
                      <a:xfrm>
                        <a:off x="4324" y="1975"/>
                        <a:ext cx="788" cy="418"/>
                      </a:xfrm>
                      <a:custGeom>
                        <a:avLst/>
                        <a:gdLst/>
                        <a:ahLst/>
                        <a:cxnLst>
                          <a:cxn ang="0">
                            <a:pos x="196" y="202"/>
                          </a:cxn>
                          <a:cxn ang="0">
                            <a:pos x="26" y="326"/>
                          </a:cxn>
                          <a:cxn ang="0">
                            <a:pos x="0" y="418"/>
                          </a:cxn>
                          <a:cxn ang="0">
                            <a:pos x="62" y="408"/>
                          </a:cxn>
                          <a:cxn ang="0">
                            <a:pos x="312" y="310"/>
                          </a:cxn>
                          <a:cxn ang="0">
                            <a:pos x="344" y="344"/>
                          </a:cxn>
                          <a:cxn ang="0">
                            <a:pos x="424" y="326"/>
                          </a:cxn>
                          <a:cxn ang="0">
                            <a:pos x="558" y="414"/>
                          </a:cxn>
                          <a:cxn ang="0">
                            <a:pos x="560" y="408"/>
                          </a:cxn>
                          <a:cxn ang="0">
                            <a:pos x="628" y="368"/>
                          </a:cxn>
                          <a:cxn ang="0">
                            <a:pos x="628" y="328"/>
                          </a:cxn>
                          <a:cxn ang="0">
                            <a:pos x="678" y="248"/>
                          </a:cxn>
                          <a:cxn ang="0">
                            <a:pos x="738" y="248"/>
                          </a:cxn>
                          <a:cxn ang="0">
                            <a:pos x="788" y="128"/>
                          </a:cxn>
                          <a:cxn ang="0">
                            <a:pos x="788" y="46"/>
                          </a:cxn>
                          <a:cxn ang="0">
                            <a:pos x="754" y="0"/>
                          </a:cxn>
                          <a:cxn ang="0">
                            <a:pos x="208" y="170"/>
                          </a:cxn>
                          <a:cxn ang="0">
                            <a:pos x="196" y="202"/>
                          </a:cxn>
                        </a:cxnLst>
                        <a:rect l="0" t="0" r="r" b="b"/>
                        <a:pathLst>
                          <a:path w="788" h="418">
                            <a:moveTo>
                              <a:pt x="196" y="202"/>
                            </a:moveTo>
                            <a:lnTo>
                              <a:pt x="26" y="326"/>
                            </a:lnTo>
                            <a:lnTo>
                              <a:pt x="0" y="418"/>
                            </a:lnTo>
                            <a:lnTo>
                              <a:pt x="62" y="408"/>
                            </a:lnTo>
                            <a:lnTo>
                              <a:pt x="312" y="310"/>
                            </a:lnTo>
                            <a:lnTo>
                              <a:pt x="344" y="344"/>
                            </a:lnTo>
                            <a:lnTo>
                              <a:pt x="424" y="326"/>
                            </a:lnTo>
                            <a:lnTo>
                              <a:pt x="558" y="414"/>
                            </a:lnTo>
                            <a:lnTo>
                              <a:pt x="560" y="408"/>
                            </a:lnTo>
                            <a:lnTo>
                              <a:pt x="628" y="368"/>
                            </a:lnTo>
                            <a:lnTo>
                              <a:pt x="628" y="328"/>
                            </a:lnTo>
                            <a:lnTo>
                              <a:pt x="678" y="248"/>
                            </a:lnTo>
                            <a:lnTo>
                              <a:pt x="738" y="248"/>
                            </a:lnTo>
                            <a:lnTo>
                              <a:pt x="788" y="128"/>
                            </a:lnTo>
                            <a:lnTo>
                              <a:pt x="788" y="46"/>
                            </a:lnTo>
                            <a:lnTo>
                              <a:pt x="754" y="0"/>
                            </a:lnTo>
                            <a:lnTo>
                              <a:pt x="208" y="170"/>
                            </a:lnTo>
                            <a:lnTo>
                              <a:pt x="196" y="20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98" name="Freeform 2867"/>
                      <p:cNvSpPr>
                        <a:spLocks/>
                      </p:cNvSpPr>
                      <p:nvPr/>
                    </p:nvSpPr>
                    <p:spPr bwMode="auto">
                      <a:xfrm>
                        <a:off x="5106" y="1349"/>
                        <a:ext cx="110" cy="76"/>
                      </a:xfrm>
                      <a:custGeom>
                        <a:avLst/>
                        <a:gdLst/>
                        <a:ahLst/>
                        <a:cxnLst>
                          <a:cxn ang="0">
                            <a:pos x="14" y="38"/>
                          </a:cxn>
                          <a:cxn ang="0">
                            <a:pos x="0" y="76"/>
                          </a:cxn>
                          <a:cxn ang="0">
                            <a:pos x="46" y="52"/>
                          </a:cxn>
                          <a:cxn ang="0">
                            <a:pos x="106" y="12"/>
                          </a:cxn>
                          <a:cxn ang="0">
                            <a:pos x="110" y="0"/>
                          </a:cxn>
                          <a:cxn ang="0">
                            <a:pos x="98" y="0"/>
                          </a:cxn>
                          <a:cxn ang="0">
                            <a:pos x="14" y="38"/>
                          </a:cxn>
                        </a:cxnLst>
                        <a:rect l="0" t="0" r="r" b="b"/>
                        <a:pathLst>
                          <a:path w="110" h="76">
                            <a:moveTo>
                              <a:pt x="14" y="38"/>
                            </a:moveTo>
                            <a:lnTo>
                              <a:pt x="0" y="76"/>
                            </a:lnTo>
                            <a:lnTo>
                              <a:pt x="46" y="52"/>
                            </a:lnTo>
                            <a:lnTo>
                              <a:pt x="106" y="12"/>
                            </a:lnTo>
                            <a:lnTo>
                              <a:pt x="110" y="0"/>
                            </a:lnTo>
                            <a:lnTo>
                              <a:pt x="98" y="0"/>
                            </a:lnTo>
                            <a:lnTo>
                              <a:pt x="14" y="38"/>
                            </a:lnTo>
                            <a:close/>
                          </a:path>
                        </a:pathLst>
                      </a:custGeom>
                      <a:solidFill>
                        <a:srgbClr val="92D050"/>
                      </a:solidFill>
                      <a:ln w="6350">
                        <a:solidFill>
                          <a:srgbClr val="92D050"/>
                        </a:solidFill>
                        <a:prstDash val="solid"/>
                        <a:round/>
                        <a:headEnd/>
                        <a:tailEnd/>
                      </a:ln>
                    </p:spPr>
                    <p:txBody>
                      <a:bodyPr/>
                      <a:lstStyle/>
                      <a:p>
                        <a:pPr>
                          <a:defRPr/>
                        </a:pPr>
                        <a:endParaRPr lang="da-DK" sz="800">
                          <a:solidFill>
                            <a:prstClr val="black"/>
                          </a:solidFill>
                        </a:endParaRPr>
                      </a:p>
                    </p:txBody>
                  </p:sp>
                  <p:sp>
                    <p:nvSpPr>
                      <p:cNvPr id="299" name="Freeform 2868"/>
                      <p:cNvSpPr>
                        <a:spLocks/>
                      </p:cNvSpPr>
                      <p:nvPr/>
                    </p:nvSpPr>
                    <p:spPr bwMode="auto">
                      <a:xfrm>
                        <a:off x="2628" y="1945"/>
                        <a:ext cx="700" cy="362"/>
                      </a:xfrm>
                      <a:custGeom>
                        <a:avLst/>
                        <a:gdLst/>
                        <a:ahLst/>
                        <a:cxnLst>
                          <a:cxn ang="0">
                            <a:pos x="626" y="62"/>
                          </a:cxn>
                          <a:cxn ang="0">
                            <a:pos x="642" y="0"/>
                          </a:cxn>
                          <a:cxn ang="0">
                            <a:pos x="606" y="0"/>
                          </a:cxn>
                          <a:cxn ang="0">
                            <a:pos x="608" y="0"/>
                          </a:cxn>
                          <a:cxn ang="0">
                            <a:pos x="0" y="8"/>
                          </a:cxn>
                          <a:cxn ang="0">
                            <a:pos x="10" y="362"/>
                          </a:cxn>
                          <a:cxn ang="0">
                            <a:pos x="700" y="338"/>
                          </a:cxn>
                          <a:cxn ang="0">
                            <a:pos x="680" y="90"/>
                          </a:cxn>
                          <a:cxn ang="0">
                            <a:pos x="626" y="62"/>
                          </a:cxn>
                        </a:cxnLst>
                        <a:rect l="0" t="0" r="r" b="b"/>
                        <a:pathLst>
                          <a:path w="700" h="362">
                            <a:moveTo>
                              <a:pt x="626" y="62"/>
                            </a:moveTo>
                            <a:lnTo>
                              <a:pt x="642" y="0"/>
                            </a:lnTo>
                            <a:lnTo>
                              <a:pt x="606" y="0"/>
                            </a:lnTo>
                            <a:lnTo>
                              <a:pt x="608" y="0"/>
                            </a:lnTo>
                            <a:lnTo>
                              <a:pt x="0" y="8"/>
                            </a:lnTo>
                            <a:lnTo>
                              <a:pt x="10" y="362"/>
                            </a:lnTo>
                            <a:lnTo>
                              <a:pt x="700" y="338"/>
                            </a:lnTo>
                            <a:lnTo>
                              <a:pt x="680" y="90"/>
                            </a:lnTo>
                            <a:lnTo>
                              <a:pt x="626" y="6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0" name="Freeform 2869"/>
                      <p:cNvSpPr>
                        <a:spLocks/>
                      </p:cNvSpPr>
                      <p:nvPr/>
                    </p:nvSpPr>
                    <p:spPr bwMode="auto">
                      <a:xfrm>
                        <a:off x="3908" y="1089"/>
                        <a:ext cx="390" cy="510"/>
                      </a:xfrm>
                      <a:custGeom>
                        <a:avLst/>
                        <a:gdLst/>
                        <a:ahLst/>
                        <a:cxnLst>
                          <a:cxn ang="0">
                            <a:pos x="350" y="464"/>
                          </a:cxn>
                          <a:cxn ang="0">
                            <a:pos x="338" y="460"/>
                          </a:cxn>
                          <a:cxn ang="0">
                            <a:pos x="390" y="284"/>
                          </a:cxn>
                          <a:cxn ang="0">
                            <a:pos x="320" y="164"/>
                          </a:cxn>
                          <a:cxn ang="0">
                            <a:pos x="280" y="190"/>
                          </a:cxn>
                          <a:cxn ang="0">
                            <a:pos x="250" y="14"/>
                          </a:cxn>
                          <a:cxn ang="0">
                            <a:pos x="100" y="0"/>
                          </a:cxn>
                          <a:cxn ang="0">
                            <a:pos x="100" y="28"/>
                          </a:cxn>
                          <a:cxn ang="0">
                            <a:pos x="22" y="124"/>
                          </a:cxn>
                          <a:cxn ang="0">
                            <a:pos x="0" y="232"/>
                          </a:cxn>
                          <a:cxn ang="0">
                            <a:pos x="12" y="272"/>
                          </a:cxn>
                          <a:cxn ang="0">
                            <a:pos x="50" y="378"/>
                          </a:cxn>
                          <a:cxn ang="0">
                            <a:pos x="50" y="486"/>
                          </a:cxn>
                          <a:cxn ang="0">
                            <a:pos x="24" y="510"/>
                          </a:cxn>
                          <a:cxn ang="0">
                            <a:pos x="212" y="506"/>
                          </a:cxn>
                          <a:cxn ang="0">
                            <a:pos x="350" y="464"/>
                          </a:cxn>
                        </a:cxnLst>
                        <a:rect l="0" t="0" r="r" b="b"/>
                        <a:pathLst>
                          <a:path w="390" h="510">
                            <a:moveTo>
                              <a:pt x="350" y="464"/>
                            </a:moveTo>
                            <a:lnTo>
                              <a:pt x="338" y="460"/>
                            </a:lnTo>
                            <a:lnTo>
                              <a:pt x="390" y="284"/>
                            </a:lnTo>
                            <a:lnTo>
                              <a:pt x="320" y="164"/>
                            </a:lnTo>
                            <a:lnTo>
                              <a:pt x="280" y="190"/>
                            </a:lnTo>
                            <a:lnTo>
                              <a:pt x="250" y="14"/>
                            </a:lnTo>
                            <a:lnTo>
                              <a:pt x="100" y="0"/>
                            </a:lnTo>
                            <a:lnTo>
                              <a:pt x="100" y="28"/>
                            </a:lnTo>
                            <a:lnTo>
                              <a:pt x="22" y="124"/>
                            </a:lnTo>
                            <a:lnTo>
                              <a:pt x="0" y="232"/>
                            </a:lnTo>
                            <a:lnTo>
                              <a:pt x="12" y="272"/>
                            </a:lnTo>
                            <a:lnTo>
                              <a:pt x="50" y="378"/>
                            </a:lnTo>
                            <a:lnTo>
                              <a:pt x="50" y="486"/>
                            </a:lnTo>
                            <a:lnTo>
                              <a:pt x="24" y="510"/>
                            </a:lnTo>
                            <a:lnTo>
                              <a:pt x="212" y="506"/>
                            </a:lnTo>
                            <a:lnTo>
                              <a:pt x="350" y="46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1" name="Freeform 2870"/>
                      <p:cNvSpPr>
                        <a:spLocks/>
                      </p:cNvSpPr>
                      <p:nvPr/>
                    </p:nvSpPr>
                    <p:spPr bwMode="auto">
                      <a:xfrm>
                        <a:off x="1028" y="1531"/>
                        <a:ext cx="540" cy="942"/>
                      </a:xfrm>
                      <a:custGeom>
                        <a:avLst/>
                        <a:gdLst/>
                        <a:ahLst/>
                        <a:cxnLst>
                          <a:cxn ang="0">
                            <a:pos x="468" y="688"/>
                          </a:cxn>
                          <a:cxn ang="0">
                            <a:pos x="540" y="98"/>
                          </a:cxn>
                          <a:cxn ang="0">
                            <a:pos x="302" y="50"/>
                          </a:cxn>
                          <a:cxn ang="0">
                            <a:pos x="302" y="46"/>
                          </a:cxn>
                          <a:cxn ang="0">
                            <a:pos x="76" y="0"/>
                          </a:cxn>
                          <a:cxn ang="0">
                            <a:pos x="0" y="328"/>
                          </a:cxn>
                          <a:cxn ang="0">
                            <a:pos x="10" y="356"/>
                          </a:cxn>
                          <a:cxn ang="0">
                            <a:pos x="0" y="384"/>
                          </a:cxn>
                          <a:cxn ang="0">
                            <a:pos x="384" y="942"/>
                          </a:cxn>
                          <a:cxn ang="0">
                            <a:pos x="414" y="794"/>
                          </a:cxn>
                          <a:cxn ang="0">
                            <a:pos x="454" y="806"/>
                          </a:cxn>
                          <a:cxn ang="0">
                            <a:pos x="468" y="688"/>
                          </a:cxn>
                          <a:cxn ang="0">
                            <a:pos x="468" y="688"/>
                          </a:cxn>
                          <a:cxn ang="0">
                            <a:pos x="468" y="688"/>
                          </a:cxn>
                        </a:cxnLst>
                        <a:rect l="0" t="0" r="r" b="b"/>
                        <a:pathLst>
                          <a:path w="540" h="942">
                            <a:moveTo>
                              <a:pt x="468" y="688"/>
                            </a:moveTo>
                            <a:lnTo>
                              <a:pt x="540" y="98"/>
                            </a:lnTo>
                            <a:lnTo>
                              <a:pt x="302" y="50"/>
                            </a:lnTo>
                            <a:lnTo>
                              <a:pt x="302" y="46"/>
                            </a:lnTo>
                            <a:lnTo>
                              <a:pt x="76" y="0"/>
                            </a:lnTo>
                            <a:lnTo>
                              <a:pt x="0" y="328"/>
                            </a:lnTo>
                            <a:lnTo>
                              <a:pt x="10" y="356"/>
                            </a:lnTo>
                            <a:lnTo>
                              <a:pt x="0" y="384"/>
                            </a:lnTo>
                            <a:lnTo>
                              <a:pt x="384" y="942"/>
                            </a:lnTo>
                            <a:lnTo>
                              <a:pt x="414" y="794"/>
                            </a:lnTo>
                            <a:lnTo>
                              <a:pt x="454" y="806"/>
                            </a:lnTo>
                            <a:lnTo>
                              <a:pt x="468" y="688"/>
                            </a:lnTo>
                            <a:lnTo>
                              <a:pt x="468" y="688"/>
                            </a:lnTo>
                            <a:lnTo>
                              <a:pt x="468" y="68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2" name="Freeform 2871"/>
                      <p:cNvSpPr>
                        <a:spLocks/>
                      </p:cNvSpPr>
                      <p:nvPr/>
                    </p:nvSpPr>
                    <p:spPr bwMode="auto">
                      <a:xfrm>
                        <a:off x="5194" y="1185"/>
                        <a:ext cx="86" cy="156"/>
                      </a:xfrm>
                      <a:custGeom>
                        <a:avLst/>
                        <a:gdLst/>
                        <a:ahLst/>
                        <a:cxnLst>
                          <a:cxn ang="0">
                            <a:pos x="0" y="18"/>
                          </a:cxn>
                          <a:cxn ang="0">
                            <a:pos x="26" y="156"/>
                          </a:cxn>
                          <a:cxn ang="0">
                            <a:pos x="48" y="108"/>
                          </a:cxn>
                          <a:cxn ang="0">
                            <a:pos x="86" y="40"/>
                          </a:cxn>
                          <a:cxn ang="0">
                            <a:pos x="50" y="0"/>
                          </a:cxn>
                          <a:cxn ang="0">
                            <a:pos x="0" y="18"/>
                          </a:cxn>
                        </a:cxnLst>
                        <a:rect l="0" t="0" r="r" b="b"/>
                        <a:pathLst>
                          <a:path w="86" h="156">
                            <a:moveTo>
                              <a:pt x="0" y="18"/>
                            </a:moveTo>
                            <a:lnTo>
                              <a:pt x="26" y="156"/>
                            </a:lnTo>
                            <a:lnTo>
                              <a:pt x="48" y="108"/>
                            </a:lnTo>
                            <a:lnTo>
                              <a:pt x="86" y="40"/>
                            </a:lnTo>
                            <a:lnTo>
                              <a:pt x="50" y="0"/>
                            </a:lnTo>
                            <a:lnTo>
                              <a:pt x="0" y="1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3" name="Freeform 2872"/>
                      <p:cNvSpPr>
                        <a:spLocks/>
                      </p:cNvSpPr>
                      <p:nvPr/>
                    </p:nvSpPr>
                    <p:spPr bwMode="auto">
                      <a:xfrm>
                        <a:off x="4366" y="1699"/>
                        <a:ext cx="710" cy="474"/>
                      </a:xfrm>
                      <a:custGeom>
                        <a:avLst/>
                        <a:gdLst/>
                        <a:ahLst/>
                        <a:cxnLst>
                          <a:cxn ang="0">
                            <a:pos x="492" y="106"/>
                          </a:cxn>
                          <a:cxn ang="0">
                            <a:pos x="502" y="26"/>
                          </a:cxn>
                          <a:cxn ang="0">
                            <a:pos x="442" y="0"/>
                          </a:cxn>
                          <a:cxn ang="0">
                            <a:pos x="424" y="26"/>
                          </a:cxn>
                          <a:cxn ang="0">
                            <a:pos x="386" y="26"/>
                          </a:cxn>
                          <a:cxn ang="0">
                            <a:pos x="344" y="84"/>
                          </a:cxn>
                          <a:cxn ang="0">
                            <a:pos x="314" y="158"/>
                          </a:cxn>
                          <a:cxn ang="0">
                            <a:pos x="286" y="132"/>
                          </a:cxn>
                          <a:cxn ang="0">
                            <a:pos x="256" y="296"/>
                          </a:cxn>
                          <a:cxn ang="0">
                            <a:pos x="184" y="340"/>
                          </a:cxn>
                          <a:cxn ang="0">
                            <a:pos x="112" y="306"/>
                          </a:cxn>
                          <a:cxn ang="0">
                            <a:pos x="60" y="402"/>
                          </a:cxn>
                          <a:cxn ang="0">
                            <a:pos x="0" y="474"/>
                          </a:cxn>
                          <a:cxn ang="0">
                            <a:pos x="164" y="444"/>
                          </a:cxn>
                          <a:cxn ang="0">
                            <a:pos x="710" y="272"/>
                          </a:cxn>
                          <a:cxn ang="0">
                            <a:pos x="666" y="214"/>
                          </a:cxn>
                          <a:cxn ang="0">
                            <a:pos x="698" y="96"/>
                          </a:cxn>
                          <a:cxn ang="0">
                            <a:pos x="614" y="116"/>
                          </a:cxn>
                          <a:cxn ang="0">
                            <a:pos x="492" y="106"/>
                          </a:cxn>
                        </a:cxnLst>
                        <a:rect l="0" t="0" r="r" b="b"/>
                        <a:pathLst>
                          <a:path w="710" h="474">
                            <a:moveTo>
                              <a:pt x="492" y="106"/>
                            </a:moveTo>
                            <a:lnTo>
                              <a:pt x="502" y="26"/>
                            </a:lnTo>
                            <a:lnTo>
                              <a:pt x="442" y="0"/>
                            </a:lnTo>
                            <a:lnTo>
                              <a:pt x="424" y="26"/>
                            </a:lnTo>
                            <a:lnTo>
                              <a:pt x="386" y="26"/>
                            </a:lnTo>
                            <a:lnTo>
                              <a:pt x="344" y="84"/>
                            </a:lnTo>
                            <a:lnTo>
                              <a:pt x="314" y="158"/>
                            </a:lnTo>
                            <a:lnTo>
                              <a:pt x="286" y="132"/>
                            </a:lnTo>
                            <a:lnTo>
                              <a:pt x="256" y="296"/>
                            </a:lnTo>
                            <a:lnTo>
                              <a:pt x="184" y="340"/>
                            </a:lnTo>
                            <a:lnTo>
                              <a:pt x="112" y="306"/>
                            </a:lnTo>
                            <a:lnTo>
                              <a:pt x="60" y="402"/>
                            </a:lnTo>
                            <a:lnTo>
                              <a:pt x="0" y="474"/>
                            </a:lnTo>
                            <a:lnTo>
                              <a:pt x="164" y="444"/>
                            </a:lnTo>
                            <a:lnTo>
                              <a:pt x="710" y="272"/>
                            </a:lnTo>
                            <a:lnTo>
                              <a:pt x="666" y="214"/>
                            </a:lnTo>
                            <a:lnTo>
                              <a:pt x="698" y="96"/>
                            </a:lnTo>
                            <a:lnTo>
                              <a:pt x="614" y="116"/>
                            </a:lnTo>
                            <a:lnTo>
                              <a:pt x="492" y="10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4" name="Freeform 2873"/>
                      <p:cNvSpPr>
                        <a:spLocks/>
                      </p:cNvSpPr>
                      <p:nvPr/>
                    </p:nvSpPr>
                    <p:spPr bwMode="auto">
                      <a:xfrm>
                        <a:off x="4630" y="1591"/>
                        <a:ext cx="442" cy="222"/>
                      </a:xfrm>
                      <a:custGeom>
                        <a:avLst/>
                        <a:gdLst/>
                        <a:ahLst/>
                        <a:cxnLst>
                          <a:cxn ang="0">
                            <a:pos x="316" y="0"/>
                          </a:cxn>
                          <a:cxn ang="0">
                            <a:pos x="0" y="108"/>
                          </a:cxn>
                          <a:cxn ang="0">
                            <a:pos x="24" y="150"/>
                          </a:cxn>
                          <a:cxn ang="0">
                            <a:pos x="126" y="94"/>
                          </a:cxn>
                          <a:cxn ang="0">
                            <a:pos x="178" y="106"/>
                          </a:cxn>
                          <a:cxn ang="0">
                            <a:pos x="178" y="104"/>
                          </a:cxn>
                          <a:cxn ang="0">
                            <a:pos x="180" y="106"/>
                          </a:cxn>
                          <a:cxn ang="0">
                            <a:pos x="180" y="106"/>
                          </a:cxn>
                          <a:cxn ang="0">
                            <a:pos x="242" y="132"/>
                          </a:cxn>
                          <a:cxn ang="0">
                            <a:pos x="232" y="212"/>
                          </a:cxn>
                          <a:cxn ang="0">
                            <a:pos x="354" y="222"/>
                          </a:cxn>
                          <a:cxn ang="0">
                            <a:pos x="436" y="200"/>
                          </a:cxn>
                          <a:cxn ang="0">
                            <a:pos x="442" y="174"/>
                          </a:cxn>
                          <a:cxn ang="0">
                            <a:pos x="442" y="134"/>
                          </a:cxn>
                          <a:cxn ang="0">
                            <a:pos x="374" y="162"/>
                          </a:cxn>
                          <a:cxn ang="0">
                            <a:pos x="316" y="0"/>
                          </a:cxn>
                        </a:cxnLst>
                        <a:rect l="0" t="0" r="r" b="b"/>
                        <a:pathLst>
                          <a:path w="442" h="222">
                            <a:moveTo>
                              <a:pt x="316" y="0"/>
                            </a:moveTo>
                            <a:lnTo>
                              <a:pt x="0" y="108"/>
                            </a:lnTo>
                            <a:lnTo>
                              <a:pt x="24" y="150"/>
                            </a:lnTo>
                            <a:lnTo>
                              <a:pt x="126" y="94"/>
                            </a:lnTo>
                            <a:lnTo>
                              <a:pt x="178" y="106"/>
                            </a:lnTo>
                            <a:lnTo>
                              <a:pt x="178" y="104"/>
                            </a:lnTo>
                            <a:lnTo>
                              <a:pt x="180" y="106"/>
                            </a:lnTo>
                            <a:lnTo>
                              <a:pt x="180" y="106"/>
                            </a:lnTo>
                            <a:lnTo>
                              <a:pt x="242" y="132"/>
                            </a:lnTo>
                            <a:lnTo>
                              <a:pt x="232" y="212"/>
                            </a:lnTo>
                            <a:lnTo>
                              <a:pt x="354" y="222"/>
                            </a:lnTo>
                            <a:lnTo>
                              <a:pt x="436" y="200"/>
                            </a:lnTo>
                            <a:lnTo>
                              <a:pt x="442" y="174"/>
                            </a:lnTo>
                            <a:lnTo>
                              <a:pt x="442" y="134"/>
                            </a:lnTo>
                            <a:lnTo>
                              <a:pt x="374" y="162"/>
                            </a:lnTo>
                            <a:lnTo>
                              <a:pt x="31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5" name="Freeform 2874"/>
                      <p:cNvSpPr>
                        <a:spLocks/>
                      </p:cNvSpPr>
                      <p:nvPr/>
                    </p:nvSpPr>
                    <p:spPr bwMode="auto">
                      <a:xfrm>
                        <a:off x="2626" y="1951"/>
                        <a:ext cx="12" cy="356"/>
                      </a:xfrm>
                      <a:custGeom>
                        <a:avLst/>
                        <a:gdLst/>
                        <a:ahLst/>
                        <a:cxnLst>
                          <a:cxn ang="0">
                            <a:pos x="2" y="2"/>
                          </a:cxn>
                          <a:cxn ang="0">
                            <a:pos x="2" y="0"/>
                          </a:cxn>
                          <a:cxn ang="0">
                            <a:pos x="0" y="0"/>
                          </a:cxn>
                          <a:cxn ang="0">
                            <a:pos x="8" y="356"/>
                          </a:cxn>
                          <a:cxn ang="0">
                            <a:pos x="12" y="356"/>
                          </a:cxn>
                          <a:cxn ang="0">
                            <a:pos x="2" y="2"/>
                          </a:cxn>
                          <a:cxn ang="0">
                            <a:pos x="2" y="2"/>
                          </a:cxn>
                        </a:cxnLst>
                        <a:rect l="0" t="0" r="r" b="b"/>
                        <a:pathLst>
                          <a:path w="12" h="356">
                            <a:moveTo>
                              <a:pt x="2" y="2"/>
                            </a:moveTo>
                            <a:lnTo>
                              <a:pt x="2" y="0"/>
                            </a:lnTo>
                            <a:lnTo>
                              <a:pt x="0" y="0"/>
                            </a:lnTo>
                            <a:lnTo>
                              <a:pt x="8" y="356"/>
                            </a:lnTo>
                            <a:lnTo>
                              <a:pt x="12" y="356"/>
                            </a:lnTo>
                            <a:lnTo>
                              <a:pt x="2" y="2"/>
                            </a:lnTo>
                            <a:lnTo>
                              <a:pt x="2"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6" name="Freeform 2875"/>
                      <p:cNvSpPr>
                        <a:spLocks/>
                      </p:cNvSpPr>
                      <p:nvPr/>
                    </p:nvSpPr>
                    <p:spPr bwMode="auto">
                      <a:xfrm>
                        <a:off x="3202" y="1875"/>
                        <a:ext cx="2" cy="2"/>
                      </a:xfrm>
                      <a:custGeom>
                        <a:avLst/>
                        <a:gdLst/>
                        <a:ahLst/>
                        <a:cxnLst>
                          <a:cxn ang="0">
                            <a:pos x="0" y="0"/>
                          </a:cxn>
                          <a:cxn ang="0">
                            <a:pos x="0" y="2"/>
                          </a:cxn>
                          <a:cxn ang="0">
                            <a:pos x="2" y="2"/>
                          </a:cxn>
                          <a:cxn ang="0">
                            <a:pos x="0" y="0"/>
                          </a:cxn>
                          <a:cxn ang="0">
                            <a:pos x="0" y="0"/>
                          </a:cxn>
                        </a:cxnLst>
                        <a:rect l="0" t="0" r="r" b="b"/>
                        <a:pathLst>
                          <a:path w="2" h="2">
                            <a:moveTo>
                              <a:pt x="0" y="0"/>
                            </a:moveTo>
                            <a:lnTo>
                              <a:pt x="0" y="2"/>
                            </a:lnTo>
                            <a:lnTo>
                              <a:pt x="2" y="2"/>
                            </a:lnTo>
                            <a:lnTo>
                              <a:pt x="0"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7" name="Freeform 2876"/>
                      <p:cNvSpPr>
                        <a:spLocks/>
                      </p:cNvSpPr>
                      <p:nvPr/>
                    </p:nvSpPr>
                    <p:spPr bwMode="auto">
                      <a:xfrm>
                        <a:off x="3210" y="1865"/>
                        <a:ext cx="346" cy="12"/>
                      </a:xfrm>
                      <a:custGeom>
                        <a:avLst/>
                        <a:gdLst/>
                        <a:ahLst/>
                        <a:cxnLst>
                          <a:cxn ang="0">
                            <a:pos x="346" y="0"/>
                          </a:cxn>
                          <a:cxn ang="0">
                            <a:pos x="0" y="10"/>
                          </a:cxn>
                          <a:cxn ang="0">
                            <a:pos x="0" y="12"/>
                          </a:cxn>
                          <a:cxn ang="0">
                            <a:pos x="346" y="4"/>
                          </a:cxn>
                          <a:cxn ang="0">
                            <a:pos x="346" y="0"/>
                          </a:cxn>
                        </a:cxnLst>
                        <a:rect l="0" t="0" r="r" b="b"/>
                        <a:pathLst>
                          <a:path w="346" h="12">
                            <a:moveTo>
                              <a:pt x="346" y="0"/>
                            </a:moveTo>
                            <a:lnTo>
                              <a:pt x="0" y="10"/>
                            </a:lnTo>
                            <a:lnTo>
                              <a:pt x="0" y="12"/>
                            </a:lnTo>
                            <a:lnTo>
                              <a:pt x="346" y="4"/>
                            </a:lnTo>
                            <a:lnTo>
                              <a:pt x="34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08" name="Rectangle 2877"/>
                      <p:cNvSpPr>
                        <a:spLocks noChangeArrowheads="1"/>
                      </p:cNvSpPr>
                      <p:nvPr/>
                    </p:nvSpPr>
                    <p:spPr bwMode="auto">
                      <a:xfrm>
                        <a:off x="4022" y="3015"/>
                        <a:ext cx="2" cy="4"/>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09" name="Freeform 2878"/>
                      <p:cNvSpPr>
                        <a:spLocks/>
                      </p:cNvSpPr>
                      <p:nvPr/>
                    </p:nvSpPr>
                    <p:spPr bwMode="auto">
                      <a:xfrm>
                        <a:off x="3970" y="2457"/>
                        <a:ext cx="54" cy="558"/>
                      </a:xfrm>
                      <a:custGeom>
                        <a:avLst/>
                        <a:gdLst/>
                        <a:ahLst/>
                        <a:cxnLst>
                          <a:cxn ang="0">
                            <a:pos x="0" y="0"/>
                          </a:cxn>
                          <a:cxn ang="0">
                            <a:pos x="52" y="558"/>
                          </a:cxn>
                          <a:cxn ang="0">
                            <a:pos x="54" y="558"/>
                          </a:cxn>
                          <a:cxn ang="0">
                            <a:pos x="2" y="0"/>
                          </a:cxn>
                          <a:cxn ang="0">
                            <a:pos x="0" y="0"/>
                          </a:cxn>
                        </a:cxnLst>
                        <a:rect l="0" t="0" r="r" b="b"/>
                        <a:pathLst>
                          <a:path w="54" h="558">
                            <a:moveTo>
                              <a:pt x="0" y="0"/>
                            </a:moveTo>
                            <a:lnTo>
                              <a:pt x="52" y="558"/>
                            </a:lnTo>
                            <a:lnTo>
                              <a:pt x="54" y="558"/>
                            </a:lnTo>
                            <a:lnTo>
                              <a:pt x="2"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0" name="Freeform 2879"/>
                      <p:cNvSpPr>
                        <a:spLocks/>
                      </p:cNvSpPr>
                      <p:nvPr/>
                    </p:nvSpPr>
                    <p:spPr bwMode="auto">
                      <a:xfrm>
                        <a:off x="4320" y="2145"/>
                        <a:ext cx="212" cy="248"/>
                      </a:xfrm>
                      <a:custGeom>
                        <a:avLst/>
                        <a:gdLst/>
                        <a:ahLst/>
                        <a:cxnLst>
                          <a:cxn ang="0">
                            <a:pos x="26" y="156"/>
                          </a:cxn>
                          <a:cxn ang="0">
                            <a:pos x="0" y="248"/>
                          </a:cxn>
                          <a:cxn ang="0">
                            <a:pos x="4" y="248"/>
                          </a:cxn>
                          <a:cxn ang="0">
                            <a:pos x="30" y="156"/>
                          </a:cxn>
                          <a:cxn ang="0">
                            <a:pos x="200" y="32"/>
                          </a:cxn>
                          <a:cxn ang="0">
                            <a:pos x="212" y="0"/>
                          </a:cxn>
                          <a:cxn ang="0">
                            <a:pos x="208" y="2"/>
                          </a:cxn>
                          <a:cxn ang="0">
                            <a:pos x="198" y="32"/>
                          </a:cxn>
                          <a:cxn ang="0">
                            <a:pos x="26" y="156"/>
                          </a:cxn>
                        </a:cxnLst>
                        <a:rect l="0" t="0" r="r" b="b"/>
                        <a:pathLst>
                          <a:path w="212" h="248">
                            <a:moveTo>
                              <a:pt x="26" y="156"/>
                            </a:moveTo>
                            <a:lnTo>
                              <a:pt x="0" y="248"/>
                            </a:lnTo>
                            <a:lnTo>
                              <a:pt x="4" y="248"/>
                            </a:lnTo>
                            <a:lnTo>
                              <a:pt x="30" y="156"/>
                            </a:lnTo>
                            <a:lnTo>
                              <a:pt x="200" y="32"/>
                            </a:lnTo>
                            <a:lnTo>
                              <a:pt x="212" y="0"/>
                            </a:lnTo>
                            <a:lnTo>
                              <a:pt x="208" y="2"/>
                            </a:lnTo>
                            <a:lnTo>
                              <a:pt x="198" y="32"/>
                            </a:lnTo>
                            <a:lnTo>
                              <a:pt x="26" y="15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1" name="Freeform 2880"/>
                      <p:cNvSpPr>
                        <a:spLocks/>
                      </p:cNvSpPr>
                      <p:nvPr/>
                    </p:nvSpPr>
                    <p:spPr bwMode="auto">
                      <a:xfrm>
                        <a:off x="4476" y="2001"/>
                        <a:ext cx="2" cy="2"/>
                      </a:xfrm>
                      <a:custGeom>
                        <a:avLst/>
                        <a:gdLst/>
                        <a:ahLst/>
                        <a:cxnLst>
                          <a:cxn ang="0">
                            <a:pos x="0" y="0"/>
                          </a:cxn>
                          <a:cxn ang="0">
                            <a:pos x="0" y="0"/>
                          </a:cxn>
                          <a:cxn ang="0">
                            <a:pos x="2" y="2"/>
                          </a:cxn>
                          <a:cxn ang="0">
                            <a:pos x="0" y="0"/>
                          </a:cxn>
                        </a:cxnLst>
                        <a:rect l="0" t="0" r="r" b="b"/>
                        <a:pathLst>
                          <a:path w="2" h="2">
                            <a:moveTo>
                              <a:pt x="0" y="0"/>
                            </a:moveTo>
                            <a:lnTo>
                              <a:pt x="0" y="0"/>
                            </a:lnTo>
                            <a:lnTo>
                              <a:pt x="2" y="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2" name="Freeform 2881"/>
                      <p:cNvSpPr>
                        <a:spLocks/>
                      </p:cNvSpPr>
                      <p:nvPr/>
                    </p:nvSpPr>
                    <p:spPr bwMode="auto">
                      <a:xfrm>
                        <a:off x="4360" y="2003"/>
                        <a:ext cx="118" cy="172"/>
                      </a:xfrm>
                      <a:custGeom>
                        <a:avLst/>
                        <a:gdLst/>
                        <a:ahLst/>
                        <a:cxnLst>
                          <a:cxn ang="0">
                            <a:pos x="64" y="98"/>
                          </a:cxn>
                          <a:cxn ang="0">
                            <a:pos x="0" y="172"/>
                          </a:cxn>
                          <a:cxn ang="0">
                            <a:pos x="6" y="170"/>
                          </a:cxn>
                          <a:cxn ang="0">
                            <a:pos x="6" y="170"/>
                          </a:cxn>
                          <a:cxn ang="0">
                            <a:pos x="66" y="98"/>
                          </a:cxn>
                          <a:cxn ang="0">
                            <a:pos x="118" y="2"/>
                          </a:cxn>
                          <a:cxn ang="0">
                            <a:pos x="114" y="0"/>
                          </a:cxn>
                          <a:cxn ang="0">
                            <a:pos x="64" y="98"/>
                          </a:cxn>
                        </a:cxnLst>
                        <a:rect l="0" t="0" r="r" b="b"/>
                        <a:pathLst>
                          <a:path w="118" h="172">
                            <a:moveTo>
                              <a:pt x="64" y="98"/>
                            </a:moveTo>
                            <a:lnTo>
                              <a:pt x="0" y="172"/>
                            </a:lnTo>
                            <a:lnTo>
                              <a:pt x="6" y="170"/>
                            </a:lnTo>
                            <a:lnTo>
                              <a:pt x="6" y="170"/>
                            </a:lnTo>
                            <a:lnTo>
                              <a:pt x="66" y="98"/>
                            </a:lnTo>
                            <a:lnTo>
                              <a:pt x="118" y="2"/>
                            </a:lnTo>
                            <a:lnTo>
                              <a:pt x="114" y="0"/>
                            </a:lnTo>
                            <a:lnTo>
                              <a:pt x="64" y="9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3" name="Freeform 2882"/>
                      <p:cNvSpPr>
                        <a:spLocks/>
                      </p:cNvSpPr>
                      <p:nvPr/>
                    </p:nvSpPr>
                    <p:spPr bwMode="auto">
                      <a:xfrm>
                        <a:off x="5072" y="1655"/>
                        <a:ext cx="2" cy="6"/>
                      </a:xfrm>
                      <a:custGeom>
                        <a:avLst/>
                        <a:gdLst/>
                        <a:ahLst/>
                        <a:cxnLst>
                          <a:cxn ang="0">
                            <a:pos x="2" y="6"/>
                          </a:cxn>
                          <a:cxn ang="0">
                            <a:pos x="2" y="2"/>
                          </a:cxn>
                          <a:cxn ang="0">
                            <a:pos x="0" y="0"/>
                          </a:cxn>
                          <a:cxn ang="0">
                            <a:pos x="0" y="6"/>
                          </a:cxn>
                          <a:cxn ang="0">
                            <a:pos x="2" y="6"/>
                          </a:cxn>
                        </a:cxnLst>
                        <a:rect l="0" t="0" r="r" b="b"/>
                        <a:pathLst>
                          <a:path w="2" h="6">
                            <a:moveTo>
                              <a:pt x="2" y="6"/>
                            </a:moveTo>
                            <a:lnTo>
                              <a:pt x="2" y="2"/>
                            </a:lnTo>
                            <a:lnTo>
                              <a:pt x="0" y="0"/>
                            </a:lnTo>
                            <a:lnTo>
                              <a:pt x="0" y="6"/>
                            </a:lnTo>
                            <a:lnTo>
                              <a:pt x="2"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4" name="Freeform 2883"/>
                      <p:cNvSpPr>
                        <a:spLocks/>
                      </p:cNvSpPr>
                      <p:nvPr/>
                    </p:nvSpPr>
                    <p:spPr bwMode="auto">
                      <a:xfrm>
                        <a:off x="4976" y="1581"/>
                        <a:ext cx="96" cy="80"/>
                      </a:xfrm>
                      <a:custGeom>
                        <a:avLst/>
                        <a:gdLst/>
                        <a:ahLst/>
                        <a:cxnLst>
                          <a:cxn ang="0">
                            <a:pos x="0" y="2"/>
                          </a:cxn>
                          <a:cxn ang="0">
                            <a:pos x="96" y="80"/>
                          </a:cxn>
                          <a:cxn ang="0">
                            <a:pos x="96" y="74"/>
                          </a:cxn>
                          <a:cxn ang="0">
                            <a:pos x="2" y="0"/>
                          </a:cxn>
                          <a:cxn ang="0">
                            <a:pos x="0" y="2"/>
                          </a:cxn>
                        </a:cxnLst>
                        <a:rect l="0" t="0" r="r" b="b"/>
                        <a:pathLst>
                          <a:path w="96" h="80">
                            <a:moveTo>
                              <a:pt x="0" y="2"/>
                            </a:moveTo>
                            <a:lnTo>
                              <a:pt x="96" y="80"/>
                            </a:lnTo>
                            <a:lnTo>
                              <a:pt x="96" y="74"/>
                            </a:lnTo>
                            <a:lnTo>
                              <a:pt x="2"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5" name="Freeform 2884"/>
                      <p:cNvSpPr>
                        <a:spLocks/>
                      </p:cNvSpPr>
                      <p:nvPr/>
                    </p:nvSpPr>
                    <p:spPr bwMode="auto">
                      <a:xfrm>
                        <a:off x="5104" y="1425"/>
                        <a:ext cx="2" cy="2"/>
                      </a:xfrm>
                      <a:custGeom>
                        <a:avLst/>
                        <a:gdLst/>
                        <a:ahLst/>
                        <a:cxnLst>
                          <a:cxn ang="0">
                            <a:pos x="0" y="2"/>
                          </a:cxn>
                          <a:cxn ang="0">
                            <a:pos x="2" y="2"/>
                          </a:cxn>
                          <a:cxn ang="0">
                            <a:pos x="2" y="0"/>
                          </a:cxn>
                          <a:cxn ang="0">
                            <a:pos x="0" y="2"/>
                          </a:cxn>
                          <a:cxn ang="0">
                            <a:pos x="0" y="2"/>
                          </a:cxn>
                        </a:cxnLst>
                        <a:rect l="0" t="0" r="r" b="b"/>
                        <a:pathLst>
                          <a:path w="2" h="2">
                            <a:moveTo>
                              <a:pt x="0" y="2"/>
                            </a:moveTo>
                            <a:lnTo>
                              <a:pt x="2" y="2"/>
                            </a:lnTo>
                            <a:lnTo>
                              <a:pt x="2" y="0"/>
                            </a:lnTo>
                            <a:lnTo>
                              <a:pt x="0" y="2"/>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6" name="Freeform 2885"/>
                      <p:cNvSpPr>
                        <a:spLocks/>
                      </p:cNvSpPr>
                      <p:nvPr/>
                    </p:nvSpPr>
                    <p:spPr bwMode="auto">
                      <a:xfrm>
                        <a:off x="5216" y="1347"/>
                        <a:ext cx="6" cy="2"/>
                      </a:xfrm>
                      <a:custGeom>
                        <a:avLst/>
                        <a:gdLst/>
                        <a:ahLst/>
                        <a:cxnLst>
                          <a:cxn ang="0">
                            <a:pos x="4" y="0"/>
                          </a:cxn>
                          <a:cxn ang="0">
                            <a:pos x="2" y="0"/>
                          </a:cxn>
                          <a:cxn ang="0">
                            <a:pos x="0" y="2"/>
                          </a:cxn>
                          <a:cxn ang="0">
                            <a:pos x="6" y="2"/>
                          </a:cxn>
                          <a:cxn ang="0">
                            <a:pos x="6" y="0"/>
                          </a:cxn>
                          <a:cxn ang="0">
                            <a:pos x="4" y="0"/>
                          </a:cxn>
                          <a:cxn ang="0">
                            <a:pos x="4" y="0"/>
                          </a:cxn>
                          <a:cxn ang="0">
                            <a:pos x="4" y="0"/>
                          </a:cxn>
                        </a:cxnLst>
                        <a:rect l="0" t="0" r="r" b="b"/>
                        <a:pathLst>
                          <a:path w="6" h="2">
                            <a:moveTo>
                              <a:pt x="4" y="0"/>
                            </a:moveTo>
                            <a:lnTo>
                              <a:pt x="2" y="0"/>
                            </a:lnTo>
                            <a:lnTo>
                              <a:pt x="0" y="2"/>
                            </a:lnTo>
                            <a:lnTo>
                              <a:pt x="6" y="2"/>
                            </a:lnTo>
                            <a:lnTo>
                              <a:pt x="6" y="0"/>
                            </a:lnTo>
                            <a:lnTo>
                              <a:pt x="4" y="0"/>
                            </a:lnTo>
                            <a:lnTo>
                              <a:pt x="4" y="0"/>
                            </a:lnTo>
                            <a:lnTo>
                              <a:pt x="4"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7" name="Freeform 2886"/>
                      <p:cNvSpPr>
                        <a:spLocks/>
                      </p:cNvSpPr>
                      <p:nvPr/>
                    </p:nvSpPr>
                    <p:spPr bwMode="auto">
                      <a:xfrm>
                        <a:off x="4982" y="1347"/>
                        <a:ext cx="236" cy="80"/>
                      </a:xfrm>
                      <a:custGeom>
                        <a:avLst/>
                        <a:gdLst/>
                        <a:ahLst/>
                        <a:cxnLst>
                          <a:cxn ang="0">
                            <a:pos x="222" y="0"/>
                          </a:cxn>
                          <a:cxn ang="0">
                            <a:pos x="136" y="40"/>
                          </a:cxn>
                          <a:cxn ang="0">
                            <a:pos x="124" y="70"/>
                          </a:cxn>
                          <a:cxn ang="0">
                            <a:pos x="0" y="42"/>
                          </a:cxn>
                          <a:cxn ang="0">
                            <a:pos x="0" y="44"/>
                          </a:cxn>
                          <a:cxn ang="0">
                            <a:pos x="124" y="72"/>
                          </a:cxn>
                          <a:cxn ang="0">
                            <a:pos x="122" y="80"/>
                          </a:cxn>
                          <a:cxn ang="0">
                            <a:pos x="124" y="78"/>
                          </a:cxn>
                          <a:cxn ang="0">
                            <a:pos x="138" y="40"/>
                          </a:cxn>
                          <a:cxn ang="0">
                            <a:pos x="222" y="2"/>
                          </a:cxn>
                          <a:cxn ang="0">
                            <a:pos x="234" y="2"/>
                          </a:cxn>
                          <a:cxn ang="0">
                            <a:pos x="236" y="0"/>
                          </a:cxn>
                          <a:cxn ang="0">
                            <a:pos x="222" y="0"/>
                          </a:cxn>
                        </a:cxnLst>
                        <a:rect l="0" t="0" r="r" b="b"/>
                        <a:pathLst>
                          <a:path w="236" h="80">
                            <a:moveTo>
                              <a:pt x="222" y="0"/>
                            </a:moveTo>
                            <a:lnTo>
                              <a:pt x="136" y="40"/>
                            </a:lnTo>
                            <a:lnTo>
                              <a:pt x="124" y="70"/>
                            </a:lnTo>
                            <a:lnTo>
                              <a:pt x="0" y="42"/>
                            </a:lnTo>
                            <a:lnTo>
                              <a:pt x="0" y="44"/>
                            </a:lnTo>
                            <a:lnTo>
                              <a:pt x="124" y="72"/>
                            </a:lnTo>
                            <a:lnTo>
                              <a:pt x="122" y="80"/>
                            </a:lnTo>
                            <a:lnTo>
                              <a:pt x="124" y="78"/>
                            </a:lnTo>
                            <a:lnTo>
                              <a:pt x="138" y="40"/>
                            </a:lnTo>
                            <a:lnTo>
                              <a:pt x="222" y="2"/>
                            </a:lnTo>
                            <a:lnTo>
                              <a:pt x="234" y="2"/>
                            </a:lnTo>
                            <a:lnTo>
                              <a:pt x="236" y="0"/>
                            </a:lnTo>
                            <a:lnTo>
                              <a:pt x="22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18" name="Rectangle 2887"/>
                      <p:cNvSpPr>
                        <a:spLocks noChangeArrowheads="1"/>
                      </p:cNvSpPr>
                      <p:nvPr/>
                    </p:nvSpPr>
                    <p:spPr bwMode="auto">
                      <a:xfrm>
                        <a:off x="882" y="917"/>
                        <a:ext cx="6" cy="6"/>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19" name="Freeform 2888"/>
                      <p:cNvSpPr>
                        <a:spLocks/>
                      </p:cNvSpPr>
                      <p:nvPr/>
                    </p:nvSpPr>
                    <p:spPr bwMode="auto">
                      <a:xfrm>
                        <a:off x="888" y="711"/>
                        <a:ext cx="1590" cy="974"/>
                      </a:xfrm>
                      <a:custGeom>
                        <a:avLst/>
                        <a:gdLst/>
                        <a:ahLst/>
                        <a:cxnLst>
                          <a:cxn ang="0">
                            <a:pos x="1590" y="166"/>
                          </a:cxn>
                          <a:cxn ang="0">
                            <a:pos x="1580" y="616"/>
                          </a:cxn>
                          <a:cxn ang="0">
                            <a:pos x="978" y="650"/>
                          </a:cxn>
                          <a:cxn ang="0">
                            <a:pos x="908" y="626"/>
                          </a:cxn>
                          <a:cxn ang="0">
                            <a:pos x="754" y="534"/>
                          </a:cxn>
                          <a:cxn ang="0">
                            <a:pos x="714" y="476"/>
                          </a:cxn>
                          <a:cxn ang="0">
                            <a:pos x="710" y="326"/>
                          </a:cxn>
                          <a:cxn ang="0">
                            <a:pos x="668" y="24"/>
                          </a:cxn>
                          <a:cxn ang="0">
                            <a:pos x="636" y="166"/>
                          </a:cxn>
                          <a:cxn ang="0">
                            <a:pos x="736" y="346"/>
                          </a:cxn>
                          <a:cxn ang="0">
                            <a:pos x="756" y="472"/>
                          </a:cxn>
                          <a:cxn ang="0">
                            <a:pos x="818" y="642"/>
                          </a:cxn>
                          <a:cxn ang="0">
                            <a:pos x="948" y="618"/>
                          </a:cxn>
                          <a:cxn ang="0">
                            <a:pos x="948" y="964"/>
                          </a:cxn>
                          <a:cxn ang="0">
                            <a:pos x="502" y="598"/>
                          </a:cxn>
                          <a:cxn ang="0">
                            <a:pos x="560" y="436"/>
                          </a:cxn>
                          <a:cxn ang="0">
                            <a:pos x="592" y="2"/>
                          </a:cxn>
                          <a:cxn ang="0">
                            <a:pos x="524" y="342"/>
                          </a:cxn>
                          <a:cxn ang="0">
                            <a:pos x="400" y="334"/>
                          </a:cxn>
                          <a:cxn ang="0">
                            <a:pos x="110" y="318"/>
                          </a:cxn>
                          <a:cxn ang="0">
                            <a:pos x="0" y="206"/>
                          </a:cxn>
                          <a:cxn ang="0">
                            <a:pos x="96" y="238"/>
                          </a:cxn>
                          <a:cxn ang="0">
                            <a:pos x="284" y="356"/>
                          </a:cxn>
                          <a:cxn ang="0">
                            <a:pos x="534" y="378"/>
                          </a:cxn>
                          <a:cxn ang="0">
                            <a:pos x="486" y="572"/>
                          </a:cxn>
                          <a:cxn ang="0">
                            <a:pos x="444" y="862"/>
                          </a:cxn>
                          <a:cxn ang="0">
                            <a:pos x="446" y="866"/>
                          </a:cxn>
                          <a:cxn ang="0">
                            <a:pos x="442" y="870"/>
                          </a:cxn>
                          <a:cxn ang="0">
                            <a:pos x="682" y="914"/>
                          </a:cxn>
                          <a:cxn ang="0">
                            <a:pos x="688" y="920"/>
                          </a:cxn>
                          <a:cxn ang="0">
                            <a:pos x="948" y="970"/>
                          </a:cxn>
                          <a:cxn ang="0">
                            <a:pos x="992" y="584"/>
                          </a:cxn>
                          <a:cxn ang="0">
                            <a:pos x="1584" y="624"/>
                          </a:cxn>
                          <a:cxn ang="0">
                            <a:pos x="1586" y="524"/>
                          </a:cxn>
                          <a:cxn ang="0">
                            <a:pos x="1584" y="520"/>
                          </a:cxn>
                        </a:cxnLst>
                        <a:rect l="0" t="0" r="r" b="b"/>
                        <a:pathLst>
                          <a:path w="1590" h="974">
                            <a:moveTo>
                              <a:pt x="1586" y="520"/>
                            </a:moveTo>
                            <a:lnTo>
                              <a:pt x="1590" y="166"/>
                            </a:lnTo>
                            <a:lnTo>
                              <a:pt x="1584" y="164"/>
                            </a:lnTo>
                            <a:lnTo>
                              <a:pt x="1580" y="616"/>
                            </a:lnTo>
                            <a:lnTo>
                              <a:pt x="986" y="578"/>
                            </a:lnTo>
                            <a:lnTo>
                              <a:pt x="978" y="650"/>
                            </a:lnTo>
                            <a:lnTo>
                              <a:pt x="952" y="614"/>
                            </a:lnTo>
                            <a:lnTo>
                              <a:pt x="908" y="626"/>
                            </a:lnTo>
                            <a:lnTo>
                              <a:pt x="824" y="638"/>
                            </a:lnTo>
                            <a:lnTo>
                              <a:pt x="754" y="534"/>
                            </a:lnTo>
                            <a:lnTo>
                              <a:pt x="762" y="464"/>
                            </a:lnTo>
                            <a:lnTo>
                              <a:pt x="714" y="476"/>
                            </a:lnTo>
                            <a:lnTo>
                              <a:pt x="744" y="346"/>
                            </a:lnTo>
                            <a:lnTo>
                              <a:pt x="710" y="326"/>
                            </a:lnTo>
                            <a:lnTo>
                              <a:pt x="644" y="168"/>
                            </a:lnTo>
                            <a:lnTo>
                              <a:pt x="668" y="24"/>
                            </a:lnTo>
                            <a:lnTo>
                              <a:pt x="662" y="22"/>
                            </a:lnTo>
                            <a:lnTo>
                              <a:pt x="636" y="166"/>
                            </a:lnTo>
                            <a:lnTo>
                              <a:pt x="708" y="332"/>
                            </a:lnTo>
                            <a:lnTo>
                              <a:pt x="736" y="346"/>
                            </a:lnTo>
                            <a:lnTo>
                              <a:pt x="706" y="484"/>
                            </a:lnTo>
                            <a:lnTo>
                              <a:pt x="756" y="472"/>
                            </a:lnTo>
                            <a:lnTo>
                              <a:pt x="746" y="534"/>
                            </a:lnTo>
                            <a:lnTo>
                              <a:pt x="818" y="642"/>
                            </a:lnTo>
                            <a:lnTo>
                              <a:pt x="910" y="632"/>
                            </a:lnTo>
                            <a:lnTo>
                              <a:pt x="948" y="618"/>
                            </a:lnTo>
                            <a:lnTo>
                              <a:pt x="976" y="656"/>
                            </a:lnTo>
                            <a:lnTo>
                              <a:pt x="948" y="964"/>
                            </a:lnTo>
                            <a:lnTo>
                              <a:pt x="452" y="864"/>
                            </a:lnTo>
                            <a:lnTo>
                              <a:pt x="502" y="598"/>
                            </a:lnTo>
                            <a:lnTo>
                              <a:pt x="492" y="572"/>
                            </a:lnTo>
                            <a:lnTo>
                              <a:pt x="560" y="436"/>
                            </a:lnTo>
                            <a:lnTo>
                              <a:pt x="530" y="342"/>
                            </a:lnTo>
                            <a:lnTo>
                              <a:pt x="592" y="2"/>
                            </a:lnTo>
                            <a:lnTo>
                              <a:pt x="584" y="0"/>
                            </a:lnTo>
                            <a:lnTo>
                              <a:pt x="524" y="342"/>
                            </a:lnTo>
                            <a:lnTo>
                              <a:pt x="532" y="368"/>
                            </a:lnTo>
                            <a:lnTo>
                              <a:pt x="400" y="334"/>
                            </a:lnTo>
                            <a:lnTo>
                              <a:pt x="284" y="350"/>
                            </a:lnTo>
                            <a:lnTo>
                              <a:pt x="110" y="318"/>
                            </a:lnTo>
                            <a:lnTo>
                              <a:pt x="100" y="234"/>
                            </a:lnTo>
                            <a:lnTo>
                              <a:pt x="0" y="206"/>
                            </a:lnTo>
                            <a:lnTo>
                              <a:pt x="0" y="212"/>
                            </a:lnTo>
                            <a:lnTo>
                              <a:pt x="96" y="238"/>
                            </a:lnTo>
                            <a:lnTo>
                              <a:pt x="104" y="324"/>
                            </a:lnTo>
                            <a:lnTo>
                              <a:pt x="284" y="356"/>
                            </a:lnTo>
                            <a:lnTo>
                              <a:pt x="400" y="340"/>
                            </a:lnTo>
                            <a:lnTo>
                              <a:pt x="534" y="378"/>
                            </a:lnTo>
                            <a:lnTo>
                              <a:pt x="554" y="436"/>
                            </a:lnTo>
                            <a:lnTo>
                              <a:pt x="486" y="572"/>
                            </a:lnTo>
                            <a:lnTo>
                              <a:pt x="494" y="598"/>
                            </a:lnTo>
                            <a:lnTo>
                              <a:pt x="444" y="862"/>
                            </a:lnTo>
                            <a:lnTo>
                              <a:pt x="446" y="862"/>
                            </a:lnTo>
                            <a:lnTo>
                              <a:pt x="446" y="866"/>
                            </a:lnTo>
                            <a:lnTo>
                              <a:pt x="442" y="866"/>
                            </a:lnTo>
                            <a:lnTo>
                              <a:pt x="442" y="870"/>
                            </a:lnTo>
                            <a:lnTo>
                              <a:pt x="680" y="918"/>
                            </a:lnTo>
                            <a:lnTo>
                              <a:pt x="682" y="914"/>
                            </a:lnTo>
                            <a:lnTo>
                              <a:pt x="688" y="914"/>
                            </a:lnTo>
                            <a:lnTo>
                              <a:pt x="688" y="920"/>
                            </a:lnTo>
                            <a:lnTo>
                              <a:pt x="948" y="974"/>
                            </a:lnTo>
                            <a:lnTo>
                              <a:pt x="948" y="970"/>
                            </a:lnTo>
                            <a:lnTo>
                              <a:pt x="954" y="972"/>
                            </a:lnTo>
                            <a:lnTo>
                              <a:pt x="992" y="584"/>
                            </a:lnTo>
                            <a:lnTo>
                              <a:pt x="1584" y="624"/>
                            </a:lnTo>
                            <a:lnTo>
                              <a:pt x="1584" y="624"/>
                            </a:lnTo>
                            <a:lnTo>
                              <a:pt x="1586" y="624"/>
                            </a:lnTo>
                            <a:lnTo>
                              <a:pt x="1586" y="524"/>
                            </a:lnTo>
                            <a:lnTo>
                              <a:pt x="1584" y="524"/>
                            </a:lnTo>
                            <a:lnTo>
                              <a:pt x="1584" y="520"/>
                            </a:lnTo>
                            <a:lnTo>
                              <a:pt x="1586" y="52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0" name="Rectangle 2889"/>
                      <p:cNvSpPr>
                        <a:spLocks noChangeArrowheads="1"/>
                      </p:cNvSpPr>
                      <p:nvPr/>
                    </p:nvSpPr>
                    <p:spPr bwMode="auto">
                      <a:xfrm>
                        <a:off x="766" y="1433"/>
                        <a:ext cx="1"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21" name="Freeform 2890"/>
                      <p:cNvSpPr>
                        <a:spLocks/>
                      </p:cNvSpPr>
                      <p:nvPr/>
                    </p:nvSpPr>
                    <p:spPr bwMode="auto">
                      <a:xfrm>
                        <a:off x="1370" y="2791"/>
                        <a:ext cx="2" cy="1"/>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2" name="Freeform 2891"/>
                      <p:cNvSpPr>
                        <a:spLocks/>
                      </p:cNvSpPr>
                      <p:nvPr/>
                    </p:nvSpPr>
                    <p:spPr bwMode="auto">
                      <a:xfrm>
                        <a:off x="1496" y="1629"/>
                        <a:ext cx="80" cy="590"/>
                      </a:xfrm>
                      <a:custGeom>
                        <a:avLst/>
                        <a:gdLst/>
                        <a:ahLst/>
                        <a:cxnLst>
                          <a:cxn ang="0">
                            <a:pos x="72" y="0"/>
                          </a:cxn>
                          <a:cxn ang="0">
                            <a:pos x="0" y="590"/>
                          </a:cxn>
                          <a:cxn ang="0">
                            <a:pos x="4" y="590"/>
                          </a:cxn>
                          <a:cxn ang="0">
                            <a:pos x="80" y="2"/>
                          </a:cxn>
                          <a:cxn ang="0">
                            <a:pos x="72" y="0"/>
                          </a:cxn>
                        </a:cxnLst>
                        <a:rect l="0" t="0" r="r" b="b"/>
                        <a:pathLst>
                          <a:path w="80" h="590">
                            <a:moveTo>
                              <a:pt x="72" y="0"/>
                            </a:moveTo>
                            <a:lnTo>
                              <a:pt x="0" y="590"/>
                            </a:lnTo>
                            <a:lnTo>
                              <a:pt x="4" y="590"/>
                            </a:lnTo>
                            <a:lnTo>
                              <a:pt x="80" y="2"/>
                            </a:lnTo>
                            <a:lnTo>
                              <a:pt x="7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3" name="Freeform 2892"/>
                      <p:cNvSpPr>
                        <a:spLocks/>
                      </p:cNvSpPr>
                      <p:nvPr/>
                    </p:nvSpPr>
                    <p:spPr bwMode="auto">
                      <a:xfrm>
                        <a:off x="766" y="1433"/>
                        <a:ext cx="734" cy="1358"/>
                      </a:xfrm>
                      <a:custGeom>
                        <a:avLst/>
                        <a:gdLst/>
                        <a:ahLst/>
                        <a:cxnLst>
                          <a:cxn ang="0">
                            <a:pos x="618" y="1262"/>
                          </a:cxn>
                          <a:cxn ang="0">
                            <a:pos x="668" y="1154"/>
                          </a:cxn>
                          <a:cxn ang="0">
                            <a:pos x="680" y="1140"/>
                          </a:cxn>
                          <a:cxn ang="0">
                            <a:pos x="648" y="1044"/>
                          </a:cxn>
                          <a:cxn ang="0">
                            <a:pos x="678" y="896"/>
                          </a:cxn>
                          <a:cxn ang="0">
                            <a:pos x="718" y="910"/>
                          </a:cxn>
                          <a:cxn ang="0">
                            <a:pos x="734" y="790"/>
                          </a:cxn>
                          <a:cxn ang="0">
                            <a:pos x="730" y="788"/>
                          </a:cxn>
                          <a:cxn ang="0">
                            <a:pos x="730" y="786"/>
                          </a:cxn>
                          <a:cxn ang="0">
                            <a:pos x="716" y="904"/>
                          </a:cxn>
                          <a:cxn ang="0">
                            <a:pos x="676" y="892"/>
                          </a:cxn>
                          <a:cxn ang="0">
                            <a:pos x="646" y="1040"/>
                          </a:cxn>
                          <a:cxn ang="0">
                            <a:pos x="262" y="482"/>
                          </a:cxn>
                          <a:cxn ang="0">
                            <a:pos x="272" y="454"/>
                          </a:cxn>
                          <a:cxn ang="0">
                            <a:pos x="262" y="426"/>
                          </a:cxn>
                          <a:cxn ang="0">
                            <a:pos x="338" y="98"/>
                          </a:cxn>
                          <a:cxn ang="0">
                            <a:pos x="564" y="144"/>
                          </a:cxn>
                          <a:cxn ang="0">
                            <a:pos x="566" y="140"/>
                          </a:cxn>
                          <a:cxn ang="0">
                            <a:pos x="338" y="92"/>
                          </a:cxn>
                          <a:cxn ang="0">
                            <a:pos x="0" y="0"/>
                          </a:cxn>
                          <a:cxn ang="0">
                            <a:pos x="0" y="0"/>
                          </a:cxn>
                          <a:cxn ang="0">
                            <a:pos x="2" y="8"/>
                          </a:cxn>
                          <a:cxn ang="0">
                            <a:pos x="334" y="98"/>
                          </a:cxn>
                          <a:cxn ang="0">
                            <a:pos x="256" y="426"/>
                          </a:cxn>
                          <a:cxn ang="0">
                            <a:pos x="266" y="454"/>
                          </a:cxn>
                          <a:cxn ang="0">
                            <a:pos x="256" y="482"/>
                          </a:cxn>
                          <a:cxn ang="0">
                            <a:pos x="644" y="1044"/>
                          </a:cxn>
                          <a:cxn ang="0">
                            <a:pos x="674" y="1140"/>
                          </a:cxn>
                          <a:cxn ang="0">
                            <a:pos x="664" y="1150"/>
                          </a:cxn>
                          <a:cxn ang="0">
                            <a:pos x="614" y="1260"/>
                          </a:cxn>
                          <a:cxn ang="0">
                            <a:pos x="626" y="1314"/>
                          </a:cxn>
                          <a:cxn ang="0">
                            <a:pos x="600" y="1354"/>
                          </a:cxn>
                          <a:cxn ang="0">
                            <a:pos x="604" y="1358"/>
                          </a:cxn>
                          <a:cxn ang="0">
                            <a:pos x="606" y="1358"/>
                          </a:cxn>
                          <a:cxn ang="0">
                            <a:pos x="630" y="1316"/>
                          </a:cxn>
                          <a:cxn ang="0">
                            <a:pos x="618" y="1262"/>
                          </a:cxn>
                        </a:cxnLst>
                        <a:rect l="0" t="0" r="r" b="b"/>
                        <a:pathLst>
                          <a:path w="734" h="1358">
                            <a:moveTo>
                              <a:pt x="618" y="1262"/>
                            </a:moveTo>
                            <a:lnTo>
                              <a:pt x="668" y="1154"/>
                            </a:lnTo>
                            <a:lnTo>
                              <a:pt x="680" y="1140"/>
                            </a:lnTo>
                            <a:lnTo>
                              <a:pt x="648" y="1044"/>
                            </a:lnTo>
                            <a:lnTo>
                              <a:pt x="678" y="896"/>
                            </a:lnTo>
                            <a:lnTo>
                              <a:pt x="718" y="910"/>
                            </a:lnTo>
                            <a:lnTo>
                              <a:pt x="734" y="790"/>
                            </a:lnTo>
                            <a:lnTo>
                              <a:pt x="730" y="788"/>
                            </a:lnTo>
                            <a:lnTo>
                              <a:pt x="730" y="786"/>
                            </a:lnTo>
                            <a:lnTo>
                              <a:pt x="716" y="904"/>
                            </a:lnTo>
                            <a:lnTo>
                              <a:pt x="676" y="892"/>
                            </a:lnTo>
                            <a:lnTo>
                              <a:pt x="646" y="1040"/>
                            </a:lnTo>
                            <a:lnTo>
                              <a:pt x="262" y="482"/>
                            </a:lnTo>
                            <a:lnTo>
                              <a:pt x="272" y="454"/>
                            </a:lnTo>
                            <a:lnTo>
                              <a:pt x="262" y="426"/>
                            </a:lnTo>
                            <a:lnTo>
                              <a:pt x="338" y="98"/>
                            </a:lnTo>
                            <a:lnTo>
                              <a:pt x="564" y="144"/>
                            </a:lnTo>
                            <a:lnTo>
                              <a:pt x="566" y="140"/>
                            </a:lnTo>
                            <a:lnTo>
                              <a:pt x="338" y="92"/>
                            </a:lnTo>
                            <a:lnTo>
                              <a:pt x="0" y="0"/>
                            </a:lnTo>
                            <a:lnTo>
                              <a:pt x="0" y="0"/>
                            </a:lnTo>
                            <a:lnTo>
                              <a:pt x="2" y="8"/>
                            </a:lnTo>
                            <a:lnTo>
                              <a:pt x="334" y="98"/>
                            </a:lnTo>
                            <a:lnTo>
                              <a:pt x="256" y="426"/>
                            </a:lnTo>
                            <a:lnTo>
                              <a:pt x="266" y="454"/>
                            </a:lnTo>
                            <a:lnTo>
                              <a:pt x="256" y="482"/>
                            </a:lnTo>
                            <a:lnTo>
                              <a:pt x="644" y="1044"/>
                            </a:lnTo>
                            <a:lnTo>
                              <a:pt x="674" y="1140"/>
                            </a:lnTo>
                            <a:lnTo>
                              <a:pt x="664" y="1150"/>
                            </a:lnTo>
                            <a:lnTo>
                              <a:pt x="614" y="1260"/>
                            </a:lnTo>
                            <a:lnTo>
                              <a:pt x="626" y="1314"/>
                            </a:lnTo>
                            <a:lnTo>
                              <a:pt x="600" y="1354"/>
                            </a:lnTo>
                            <a:lnTo>
                              <a:pt x="604" y="1358"/>
                            </a:lnTo>
                            <a:lnTo>
                              <a:pt x="606" y="1358"/>
                            </a:lnTo>
                            <a:lnTo>
                              <a:pt x="630" y="1316"/>
                            </a:lnTo>
                            <a:lnTo>
                              <a:pt x="618" y="126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4" name="Freeform 2893"/>
                      <p:cNvSpPr>
                        <a:spLocks/>
                      </p:cNvSpPr>
                      <p:nvPr/>
                    </p:nvSpPr>
                    <p:spPr bwMode="auto">
                      <a:xfrm>
                        <a:off x="1330" y="1573"/>
                        <a:ext cx="4" cy="4"/>
                      </a:xfrm>
                      <a:custGeom>
                        <a:avLst/>
                        <a:gdLst/>
                        <a:ahLst/>
                        <a:cxnLst>
                          <a:cxn ang="0">
                            <a:pos x="4" y="0"/>
                          </a:cxn>
                          <a:cxn ang="0">
                            <a:pos x="2" y="0"/>
                          </a:cxn>
                          <a:cxn ang="0">
                            <a:pos x="0" y="4"/>
                          </a:cxn>
                          <a:cxn ang="0">
                            <a:pos x="4" y="4"/>
                          </a:cxn>
                          <a:cxn ang="0">
                            <a:pos x="4" y="0"/>
                          </a:cxn>
                        </a:cxnLst>
                        <a:rect l="0" t="0" r="r" b="b"/>
                        <a:pathLst>
                          <a:path w="4" h="4">
                            <a:moveTo>
                              <a:pt x="4" y="0"/>
                            </a:moveTo>
                            <a:lnTo>
                              <a:pt x="2" y="0"/>
                            </a:lnTo>
                            <a:lnTo>
                              <a:pt x="0" y="4"/>
                            </a:lnTo>
                            <a:lnTo>
                              <a:pt x="4" y="4"/>
                            </a:lnTo>
                            <a:lnTo>
                              <a:pt x="4"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5" name="Freeform 2894"/>
                      <p:cNvSpPr>
                        <a:spLocks/>
                      </p:cNvSpPr>
                      <p:nvPr/>
                    </p:nvSpPr>
                    <p:spPr bwMode="auto">
                      <a:xfrm>
                        <a:off x="1568" y="1625"/>
                        <a:ext cx="8" cy="6"/>
                      </a:xfrm>
                      <a:custGeom>
                        <a:avLst/>
                        <a:gdLst/>
                        <a:ahLst/>
                        <a:cxnLst>
                          <a:cxn ang="0">
                            <a:pos x="8" y="0"/>
                          </a:cxn>
                          <a:cxn ang="0">
                            <a:pos x="2" y="0"/>
                          </a:cxn>
                          <a:cxn ang="0">
                            <a:pos x="0" y="4"/>
                          </a:cxn>
                          <a:cxn ang="0">
                            <a:pos x="8" y="6"/>
                          </a:cxn>
                          <a:cxn ang="0">
                            <a:pos x="8" y="0"/>
                          </a:cxn>
                        </a:cxnLst>
                        <a:rect l="0" t="0" r="r" b="b"/>
                        <a:pathLst>
                          <a:path w="8" h="6">
                            <a:moveTo>
                              <a:pt x="8" y="0"/>
                            </a:moveTo>
                            <a:lnTo>
                              <a:pt x="2" y="0"/>
                            </a:lnTo>
                            <a:lnTo>
                              <a:pt x="0" y="4"/>
                            </a:lnTo>
                            <a:lnTo>
                              <a:pt x="8" y="6"/>
                            </a:lnTo>
                            <a:lnTo>
                              <a:pt x="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6" name="Freeform 2895"/>
                      <p:cNvSpPr>
                        <a:spLocks/>
                      </p:cNvSpPr>
                      <p:nvPr/>
                    </p:nvSpPr>
                    <p:spPr bwMode="auto">
                      <a:xfrm>
                        <a:off x="3476" y="3155"/>
                        <a:ext cx="4" cy="1"/>
                      </a:xfrm>
                      <a:custGeom>
                        <a:avLst/>
                        <a:gdLst/>
                        <a:ahLst/>
                        <a:cxnLst>
                          <a:cxn ang="0">
                            <a:pos x="4" y="0"/>
                          </a:cxn>
                          <a:cxn ang="0">
                            <a:pos x="4" y="0"/>
                          </a:cxn>
                          <a:cxn ang="0">
                            <a:pos x="0" y="0"/>
                          </a:cxn>
                          <a:cxn ang="0">
                            <a:pos x="4" y="0"/>
                          </a:cxn>
                        </a:cxnLst>
                        <a:rect l="0" t="0" r="r" b="b"/>
                        <a:pathLst>
                          <a:path w="4">
                            <a:moveTo>
                              <a:pt x="4" y="0"/>
                            </a:moveTo>
                            <a:lnTo>
                              <a:pt x="4" y="0"/>
                            </a:lnTo>
                            <a:lnTo>
                              <a:pt x="0" y="0"/>
                            </a:lnTo>
                            <a:lnTo>
                              <a:pt x="4"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7" name="Freeform 2896"/>
                      <p:cNvSpPr>
                        <a:spLocks/>
                      </p:cNvSpPr>
                      <p:nvPr/>
                    </p:nvSpPr>
                    <p:spPr bwMode="auto">
                      <a:xfrm>
                        <a:off x="2174" y="2981"/>
                        <a:ext cx="2" cy="4"/>
                      </a:xfrm>
                      <a:custGeom>
                        <a:avLst/>
                        <a:gdLst/>
                        <a:ahLst/>
                        <a:cxnLst>
                          <a:cxn ang="0">
                            <a:pos x="2" y="4"/>
                          </a:cxn>
                          <a:cxn ang="0">
                            <a:pos x="2" y="2"/>
                          </a:cxn>
                          <a:cxn ang="0">
                            <a:pos x="0" y="0"/>
                          </a:cxn>
                          <a:cxn ang="0">
                            <a:pos x="2" y="4"/>
                          </a:cxn>
                        </a:cxnLst>
                        <a:rect l="0" t="0" r="r" b="b"/>
                        <a:pathLst>
                          <a:path w="2" h="4">
                            <a:moveTo>
                              <a:pt x="2" y="4"/>
                            </a:moveTo>
                            <a:lnTo>
                              <a:pt x="2" y="2"/>
                            </a:lnTo>
                            <a:lnTo>
                              <a:pt x="0" y="0"/>
                            </a:lnTo>
                            <a:lnTo>
                              <a:pt x="2"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8" name="Freeform 2897"/>
                      <p:cNvSpPr>
                        <a:spLocks/>
                      </p:cNvSpPr>
                      <p:nvPr/>
                    </p:nvSpPr>
                    <p:spPr bwMode="auto">
                      <a:xfrm>
                        <a:off x="1910" y="3007"/>
                        <a:ext cx="8" cy="2"/>
                      </a:xfrm>
                      <a:custGeom>
                        <a:avLst/>
                        <a:gdLst/>
                        <a:ahLst/>
                        <a:cxnLst>
                          <a:cxn ang="0">
                            <a:pos x="0" y="0"/>
                          </a:cxn>
                          <a:cxn ang="0">
                            <a:pos x="8" y="2"/>
                          </a:cxn>
                          <a:cxn ang="0">
                            <a:pos x="8" y="0"/>
                          </a:cxn>
                          <a:cxn ang="0">
                            <a:pos x="0" y="0"/>
                          </a:cxn>
                          <a:cxn ang="0">
                            <a:pos x="0" y="0"/>
                          </a:cxn>
                        </a:cxnLst>
                        <a:rect l="0" t="0" r="r" b="b"/>
                        <a:pathLst>
                          <a:path w="8" h="2">
                            <a:moveTo>
                              <a:pt x="0" y="0"/>
                            </a:moveTo>
                            <a:lnTo>
                              <a:pt x="8" y="2"/>
                            </a:lnTo>
                            <a:lnTo>
                              <a:pt x="8" y="0"/>
                            </a:lnTo>
                            <a:lnTo>
                              <a:pt x="0"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29" name="Freeform 2898"/>
                      <p:cNvSpPr>
                        <a:spLocks/>
                      </p:cNvSpPr>
                      <p:nvPr/>
                    </p:nvSpPr>
                    <p:spPr bwMode="auto">
                      <a:xfrm>
                        <a:off x="3410" y="2759"/>
                        <a:ext cx="92" cy="396"/>
                      </a:xfrm>
                      <a:custGeom>
                        <a:avLst/>
                        <a:gdLst/>
                        <a:ahLst/>
                        <a:cxnLst>
                          <a:cxn ang="0">
                            <a:pos x="92" y="254"/>
                          </a:cxn>
                          <a:cxn ang="0">
                            <a:pos x="24" y="134"/>
                          </a:cxn>
                          <a:cxn ang="0">
                            <a:pos x="8" y="0"/>
                          </a:cxn>
                          <a:cxn ang="0">
                            <a:pos x="0" y="0"/>
                          </a:cxn>
                          <a:cxn ang="0">
                            <a:pos x="18" y="136"/>
                          </a:cxn>
                          <a:cxn ang="0">
                            <a:pos x="88" y="254"/>
                          </a:cxn>
                          <a:cxn ang="0">
                            <a:pos x="78" y="350"/>
                          </a:cxn>
                          <a:cxn ang="0">
                            <a:pos x="64" y="394"/>
                          </a:cxn>
                          <a:cxn ang="0">
                            <a:pos x="66" y="396"/>
                          </a:cxn>
                          <a:cxn ang="0">
                            <a:pos x="70" y="396"/>
                          </a:cxn>
                          <a:cxn ang="0">
                            <a:pos x="84" y="352"/>
                          </a:cxn>
                          <a:cxn ang="0">
                            <a:pos x="92" y="254"/>
                          </a:cxn>
                        </a:cxnLst>
                        <a:rect l="0" t="0" r="r" b="b"/>
                        <a:pathLst>
                          <a:path w="92" h="396">
                            <a:moveTo>
                              <a:pt x="92" y="254"/>
                            </a:moveTo>
                            <a:lnTo>
                              <a:pt x="24" y="134"/>
                            </a:lnTo>
                            <a:lnTo>
                              <a:pt x="8" y="0"/>
                            </a:lnTo>
                            <a:lnTo>
                              <a:pt x="0" y="0"/>
                            </a:lnTo>
                            <a:lnTo>
                              <a:pt x="18" y="136"/>
                            </a:lnTo>
                            <a:lnTo>
                              <a:pt x="88" y="254"/>
                            </a:lnTo>
                            <a:lnTo>
                              <a:pt x="78" y="350"/>
                            </a:lnTo>
                            <a:lnTo>
                              <a:pt x="64" y="394"/>
                            </a:lnTo>
                            <a:lnTo>
                              <a:pt x="66" y="396"/>
                            </a:lnTo>
                            <a:lnTo>
                              <a:pt x="70" y="396"/>
                            </a:lnTo>
                            <a:lnTo>
                              <a:pt x="84" y="352"/>
                            </a:lnTo>
                            <a:lnTo>
                              <a:pt x="92" y="25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0" name="Rectangle 2899"/>
                      <p:cNvSpPr>
                        <a:spLocks noChangeArrowheads="1"/>
                      </p:cNvSpPr>
                      <p:nvPr/>
                    </p:nvSpPr>
                    <p:spPr bwMode="auto">
                      <a:xfrm>
                        <a:off x="1496" y="2219"/>
                        <a:ext cx="1"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31" name="Freeform 2900"/>
                      <p:cNvSpPr>
                        <a:spLocks/>
                      </p:cNvSpPr>
                      <p:nvPr/>
                    </p:nvSpPr>
                    <p:spPr bwMode="auto">
                      <a:xfrm>
                        <a:off x="1500" y="1335"/>
                        <a:ext cx="1918" cy="1672"/>
                      </a:xfrm>
                      <a:custGeom>
                        <a:avLst/>
                        <a:gdLst/>
                        <a:ahLst/>
                        <a:cxnLst>
                          <a:cxn ang="0">
                            <a:pos x="1038" y="1058"/>
                          </a:cxn>
                          <a:cxn ang="0">
                            <a:pos x="1320" y="1284"/>
                          </a:cxn>
                          <a:cxn ang="0">
                            <a:pos x="1796" y="1340"/>
                          </a:cxn>
                          <a:cxn ang="0">
                            <a:pos x="1910" y="1424"/>
                          </a:cxn>
                          <a:cxn ang="0">
                            <a:pos x="1918" y="1420"/>
                          </a:cxn>
                          <a:cxn ang="0">
                            <a:pos x="1874" y="1366"/>
                          </a:cxn>
                          <a:cxn ang="0">
                            <a:pos x="1864" y="1366"/>
                          </a:cxn>
                          <a:cxn ang="0">
                            <a:pos x="1798" y="1334"/>
                          </a:cxn>
                          <a:cxn ang="0">
                            <a:pos x="1326" y="1280"/>
                          </a:cxn>
                          <a:cxn ang="0">
                            <a:pos x="1058" y="1050"/>
                          </a:cxn>
                          <a:cxn ang="0">
                            <a:pos x="1830" y="954"/>
                          </a:cxn>
                          <a:cxn ang="0">
                            <a:pos x="1138" y="972"/>
                          </a:cxn>
                          <a:cxn ang="0">
                            <a:pos x="1134" y="974"/>
                          </a:cxn>
                          <a:cxn ang="0">
                            <a:pos x="1052" y="974"/>
                          </a:cxn>
                          <a:cxn ang="0">
                            <a:pos x="508" y="498"/>
                          </a:cxn>
                          <a:cxn ang="0">
                            <a:pos x="1128" y="616"/>
                          </a:cxn>
                          <a:cxn ang="0">
                            <a:pos x="1128" y="618"/>
                          </a:cxn>
                          <a:cxn ang="0">
                            <a:pos x="1734" y="610"/>
                          </a:cxn>
                          <a:cxn ang="0">
                            <a:pos x="1726" y="604"/>
                          </a:cxn>
                          <a:cxn ang="0">
                            <a:pos x="1710" y="542"/>
                          </a:cxn>
                          <a:cxn ang="0">
                            <a:pos x="1726" y="604"/>
                          </a:cxn>
                          <a:cxn ang="0">
                            <a:pos x="1126" y="518"/>
                          </a:cxn>
                          <a:cxn ang="0">
                            <a:pos x="972" y="252"/>
                          </a:cxn>
                          <a:cxn ang="0">
                            <a:pos x="972" y="248"/>
                          </a:cxn>
                          <a:cxn ang="0">
                            <a:pos x="976" y="0"/>
                          </a:cxn>
                          <a:cxn ang="0">
                            <a:pos x="974" y="0"/>
                          </a:cxn>
                          <a:cxn ang="0">
                            <a:pos x="966" y="510"/>
                          </a:cxn>
                          <a:cxn ang="0">
                            <a:pos x="316" y="468"/>
                          </a:cxn>
                          <a:cxn ang="0">
                            <a:pos x="342" y="348"/>
                          </a:cxn>
                          <a:cxn ang="0">
                            <a:pos x="336" y="350"/>
                          </a:cxn>
                          <a:cxn ang="0">
                            <a:pos x="500" y="498"/>
                          </a:cxn>
                          <a:cxn ang="0">
                            <a:pos x="0" y="884"/>
                          </a:cxn>
                          <a:cxn ang="0">
                            <a:pos x="452" y="968"/>
                          </a:cxn>
                          <a:cxn ang="0">
                            <a:pos x="418" y="1672"/>
                          </a:cxn>
                          <a:cxn ang="0">
                            <a:pos x="1050" y="982"/>
                          </a:cxn>
                          <a:cxn ang="0">
                            <a:pos x="1030" y="1050"/>
                          </a:cxn>
                          <a:cxn ang="0">
                            <a:pos x="672" y="1602"/>
                          </a:cxn>
                          <a:cxn ang="0">
                            <a:pos x="674" y="1646"/>
                          </a:cxn>
                          <a:cxn ang="0">
                            <a:pos x="676" y="1610"/>
                          </a:cxn>
                        </a:cxnLst>
                        <a:rect l="0" t="0" r="r" b="b"/>
                        <a:pathLst>
                          <a:path w="1918" h="1672">
                            <a:moveTo>
                              <a:pt x="1046" y="1620"/>
                            </a:moveTo>
                            <a:lnTo>
                              <a:pt x="1038" y="1058"/>
                            </a:lnTo>
                            <a:lnTo>
                              <a:pt x="1308" y="1048"/>
                            </a:lnTo>
                            <a:lnTo>
                              <a:pt x="1320" y="1284"/>
                            </a:lnTo>
                            <a:lnTo>
                              <a:pt x="1528" y="1352"/>
                            </a:lnTo>
                            <a:lnTo>
                              <a:pt x="1796" y="1340"/>
                            </a:lnTo>
                            <a:lnTo>
                              <a:pt x="1906" y="1386"/>
                            </a:lnTo>
                            <a:lnTo>
                              <a:pt x="1910" y="1424"/>
                            </a:lnTo>
                            <a:lnTo>
                              <a:pt x="1910" y="1420"/>
                            </a:lnTo>
                            <a:lnTo>
                              <a:pt x="1918" y="1420"/>
                            </a:lnTo>
                            <a:lnTo>
                              <a:pt x="1914" y="1382"/>
                            </a:lnTo>
                            <a:lnTo>
                              <a:pt x="1874" y="1366"/>
                            </a:lnTo>
                            <a:lnTo>
                              <a:pt x="1874" y="1370"/>
                            </a:lnTo>
                            <a:lnTo>
                              <a:pt x="1864" y="1366"/>
                            </a:lnTo>
                            <a:lnTo>
                              <a:pt x="1864" y="1362"/>
                            </a:lnTo>
                            <a:lnTo>
                              <a:pt x="1798" y="1334"/>
                            </a:lnTo>
                            <a:lnTo>
                              <a:pt x="1528" y="1348"/>
                            </a:lnTo>
                            <a:lnTo>
                              <a:pt x="1326" y="1280"/>
                            </a:lnTo>
                            <a:lnTo>
                              <a:pt x="1312" y="1042"/>
                            </a:lnTo>
                            <a:lnTo>
                              <a:pt x="1058" y="1050"/>
                            </a:lnTo>
                            <a:lnTo>
                              <a:pt x="1056" y="982"/>
                            </a:lnTo>
                            <a:lnTo>
                              <a:pt x="1830" y="954"/>
                            </a:lnTo>
                            <a:lnTo>
                              <a:pt x="1828" y="948"/>
                            </a:lnTo>
                            <a:lnTo>
                              <a:pt x="1138" y="972"/>
                            </a:lnTo>
                            <a:lnTo>
                              <a:pt x="1138" y="974"/>
                            </a:lnTo>
                            <a:lnTo>
                              <a:pt x="1134" y="974"/>
                            </a:lnTo>
                            <a:lnTo>
                              <a:pt x="1134" y="972"/>
                            </a:lnTo>
                            <a:lnTo>
                              <a:pt x="1052" y="974"/>
                            </a:lnTo>
                            <a:lnTo>
                              <a:pt x="458" y="964"/>
                            </a:lnTo>
                            <a:lnTo>
                              <a:pt x="508" y="498"/>
                            </a:lnTo>
                            <a:lnTo>
                              <a:pt x="1120" y="524"/>
                            </a:lnTo>
                            <a:lnTo>
                              <a:pt x="1128" y="616"/>
                            </a:lnTo>
                            <a:lnTo>
                              <a:pt x="1128" y="616"/>
                            </a:lnTo>
                            <a:lnTo>
                              <a:pt x="1128" y="618"/>
                            </a:lnTo>
                            <a:lnTo>
                              <a:pt x="1736" y="610"/>
                            </a:lnTo>
                            <a:lnTo>
                              <a:pt x="1734" y="610"/>
                            </a:lnTo>
                            <a:lnTo>
                              <a:pt x="1726" y="610"/>
                            </a:lnTo>
                            <a:lnTo>
                              <a:pt x="1726" y="604"/>
                            </a:lnTo>
                            <a:lnTo>
                              <a:pt x="1732" y="604"/>
                            </a:lnTo>
                            <a:lnTo>
                              <a:pt x="1710" y="542"/>
                            </a:lnTo>
                            <a:lnTo>
                              <a:pt x="1704" y="542"/>
                            </a:lnTo>
                            <a:lnTo>
                              <a:pt x="1726" y="604"/>
                            </a:lnTo>
                            <a:lnTo>
                              <a:pt x="1132" y="612"/>
                            </a:lnTo>
                            <a:lnTo>
                              <a:pt x="1126" y="518"/>
                            </a:lnTo>
                            <a:lnTo>
                              <a:pt x="968" y="514"/>
                            </a:lnTo>
                            <a:lnTo>
                              <a:pt x="972" y="252"/>
                            </a:lnTo>
                            <a:lnTo>
                              <a:pt x="972" y="252"/>
                            </a:lnTo>
                            <a:lnTo>
                              <a:pt x="972" y="248"/>
                            </a:lnTo>
                            <a:lnTo>
                              <a:pt x="972" y="248"/>
                            </a:lnTo>
                            <a:lnTo>
                              <a:pt x="976" y="0"/>
                            </a:lnTo>
                            <a:lnTo>
                              <a:pt x="974" y="0"/>
                            </a:lnTo>
                            <a:lnTo>
                              <a:pt x="974" y="0"/>
                            </a:lnTo>
                            <a:lnTo>
                              <a:pt x="972" y="0"/>
                            </a:lnTo>
                            <a:lnTo>
                              <a:pt x="966" y="510"/>
                            </a:lnTo>
                            <a:lnTo>
                              <a:pt x="508" y="496"/>
                            </a:lnTo>
                            <a:lnTo>
                              <a:pt x="316" y="468"/>
                            </a:lnTo>
                            <a:lnTo>
                              <a:pt x="344" y="348"/>
                            </a:lnTo>
                            <a:lnTo>
                              <a:pt x="342" y="348"/>
                            </a:lnTo>
                            <a:lnTo>
                              <a:pt x="342" y="352"/>
                            </a:lnTo>
                            <a:lnTo>
                              <a:pt x="336" y="350"/>
                            </a:lnTo>
                            <a:lnTo>
                              <a:pt x="312" y="472"/>
                            </a:lnTo>
                            <a:lnTo>
                              <a:pt x="500" y="498"/>
                            </a:lnTo>
                            <a:lnTo>
                              <a:pt x="452" y="964"/>
                            </a:lnTo>
                            <a:lnTo>
                              <a:pt x="0" y="884"/>
                            </a:lnTo>
                            <a:lnTo>
                              <a:pt x="0" y="888"/>
                            </a:lnTo>
                            <a:lnTo>
                              <a:pt x="452" y="968"/>
                            </a:lnTo>
                            <a:lnTo>
                              <a:pt x="410" y="1672"/>
                            </a:lnTo>
                            <a:lnTo>
                              <a:pt x="418" y="1672"/>
                            </a:lnTo>
                            <a:lnTo>
                              <a:pt x="458" y="968"/>
                            </a:lnTo>
                            <a:lnTo>
                              <a:pt x="1050" y="982"/>
                            </a:lnTo>
                            <a:lnTo>
                              <a:pt x="1050" y="1050"/>
                            </a:lnTo>
                            <a:lnTo>
                              <a:pt x="1030" y="1050"/>
                            </a:lnTo>
                            <a:lnTo>
                              <a:pt x="1038" y="1610"/>
                            </a:lnTo>
                            <a:lnTo>
                              <a:pt x="672" y="1602"/>
                            </a:lnTo>
                            <a:lnTo>
                              <a:pt x="670" y="1642"/>
                            </a:lnTo>
                            <a:lnTo>
                              <a:pt x="674" y="1646"/>
                            </a:lnTo>
                            <a:lnTo>
                              <a:pt x="676" y="1648"/>
                            </a:lnTo>
                            <a:lnTo>
                              <a:pt x="676" y="1610"/>
                            </a:lnTo>
                            <a:lnTo>
                              <a:pt x="1046" y="162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2" name="Freeform 2901"/>
                      <p:cNvSpPr>
                        <a:spLocks/>
                      </p:cNvSpPr>
                      <p:nvPr/>
                    </p:nvSpPr>
                    <p:spPr bwMode="auto">
                      <a:xfrm>
                        <a:off x="3104" y="1481"/>
                        <a:ext cx="106" cy="394"/>
                      </a:xfrm>
                      <a:custGeom>
                        <a:avLst/>
                        <a:gdLst/>
                        <a:ahLst/>
                        <a:cxnLst>
                          <a:cxn ang="0">
                            <a:pos x="12" y="136"/>
                          </a:cxn>
                          <a:cxn ang="0">
                            <a:pos x="8" y="0"/>
                          </a:cxn>
                          <a:cxn ang="0">
                            <a:pos x="0" y="2"/>
                          </a:cxn>
                          <a:cxn ang="0">
                            <a:pos x="4" y="140"/>
                          </a:cxn>
                          <a:cxn ang="0">
                            <a:pos x="98" y="394"/>
                          </a:cxn>
                          <a:cxn ang="0">
                            <a:pos x="106" y="394"/>
                          </a:cxn>
                          <a:cxn ang="0">
                            <a:pos x="12" y="136"/>
                          </a:cxn>
                        </a:cxnLst>
                        <a:rect l="0" t="0" r="r" b="b"/>
                        <a:pathLst>
                          <a:path w="106" h="394">
                            <a:moveTo>
                              <a:pt x="12" y="136"/>
                            </a:moveTo>
                            <a:lnTo>
                              <a:pt x="8" y="0"/>
                            </a:lnTo>
                            <a:lnTo>
                              <a:pt x="0" y="2"/>
                            </a:lnTo>
                            <a:lnTo>
                              <a:pt x="4" y="140"/>
                            </a:lnTo>
                            <a:lnTo>
                              <a:pt x="98" y="394"/>
                            </a:lnTo>
                            <a:lnTo>
                              <a:pt x="106" y="394"/>
                            </a:lnTo>
                            <a:lnTo>
                              <a:pt x="12" y="13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3" name="Freeform 2902"/>
                      <p:cNvSpPr>
                        <a:spLocks/>
                      </p:cNvSpPr>
                      <p:nvPr/>
                    </p:nvSpPr>
                    <p:spPr bwMode="auto">
                      <a:xfrm>
                        <a:off x="3014" y="847"/>
                        <a:ext cx="98" cy="634"/>
                      </a:xfrm>
                      <a:custGeom>
                        <a:avLst/>
                        <a:gdLst/>
                        <a:ahLst/>
                        <a:cxnLst>
                          <a:cxn ang="0">
                            <a:pos x="98" y="626"/>
                          </a:cxn>
                          <a:cxn ang="0">
                            <a:pos x="92" y="448"/>
                          </a:cxn>
                          <a:cxn ang="0">
                            <a:pos x="62" y="410"/>
                          </a:cxn>
                          <a:cxn ang="0">
                            <a:pos x="80" y="378"/>
                          </a:cxn>
                          <a:cxn ang="0">
                            <a:pos x="6" y="2"/>
                          </a:cxn>
                          <a:cxn ang="0">
                            <a:pos x="0" y="0"/>
                          </a:cxn>
                          <a:cxn ang="0">
                            <a:pos x="74" y="378"/>
                          </a:cxn>
                          <a:cxn ang="0">
                            <a:pos x="54" y="410"/>
                          </a:cxn>
                          <a:cxn ang="0">
                            <a:pos x="84" y="448"/>
                          </a:cxn>
                          <a:cxn ang="0">
                            <a:pos x="90" y="634"/>
                          </a:cxn>
                          <a:cxn ang="0">
                            <a:pos x="90" y="626"/>
                          </a:cxn>
                          <a:cxn ang="0">
                            <a:pos x="98" y="626"/>
                          </a:cxn>
                        </a:cxnLst>
                        <a:rect l="0" t="0" r="r" b="b"/>
                        <a:pathLst>
                          <a:path w="98" h="634">
                            <a:moveTo>
                              <a:pt x="98" y="626"/>
                            </a:moveTo>
                            <a:lnTo>
                              <a:pt x="92" y="448"/>
                            </a:lnTo>
                            <a:lnTo>
                              <a:pt x="62" y="410"/>
                            </a:lnTo>
                            <a:lnTo>
                              <a:pt x="80" y="378"/>
                            </a:lnTo>
                            <a:lnTo>
                              <a:pt x="6" y="2"/>
                            </a:lnTo>
                            <a:lnTo>
                              <a:pt x="0" y="0"/>
                            </a:lnTo>
                            <a:lnTo>
                              <a:pt x="74" y="378"/>
                            </a:lnTo>
                            <a:lnTo>
                              <a:pt x="54" y="410"/>
                            </a:lnTo>
                            <a:lnTo>
                              <a:pt x="84" y="448"/>
                            </a:lnTo>
                            <a:lnTo>
                              <a:pt x="90" y="634"/>
                            </a:lnTo>
                            <a:lnTo>
                              <a:pt x="90" y="626"/>
                            </a:lnTo>
                            <a:lnTo>
                              <a:pt x="98" y="62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4" name="Rectangle 2903"/>
                      <p:cNvSpPr>
                        <a:spLocks noChangeArrowheads="1"/>
                      </p:cNvSpPr>
                      <p:nvPr/>
                    </p:nvSpPr>
                    <p:spPr bwMode="auto">
                      <a:xfrm>
                        <a:off x="2628" y="1951"/>
                        <a:ext cx="1" cy="2"/>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35" name="Rectangle 2904"/>
                      <p:cNvSpPr>
                        <a:spLocks noChangeArrowheads="1"/>
                      </p:cNvSpPr>
                      <p:nvPr/>
                    </p:nvSpPr>
                    <p:spPr bwMode="auto">
                      <a:xfrm>
                        <a:off x="2634" y="2307"/>
                        <a:ext cx="4" cy="2"/>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36" name="Freeform 2905"/>
                      <p:cNvSpPr>
                        <a:spLocks/>
                      </p:cNvSpPr>
                      <p:nvPr/>
                    </p:nvSpPr>
                    <p:spPr bwMode="auto">
                      <a:xfrm>
                        <a:off x="3202" y="1875"/>
                        <a:ext cx="8" cy="2"/>
                      </a:xfrm>
                      <a:custGeom>
                        <a:avLst/>
                        <a:gdLst/>
                        <a:ahLst/>
                        <a:cxnLst>
                          <a:cxn ang="0">
                            <a:pos x="0" y="0"/>
                          </a:cxn>
                          <a:cxn ang="0">
                            <a:pos x="2" y="2"/>
                          </a:cxn>
                          <a:cxn ang="0">
                            <a:pos x="8" y="2"/>
                          </a:cxn>
                          <a:cxn ang="0">
                            <a:pos x="8" y="0"/>
                          </a:cxn>
                          <a:cxn ang="0">
                            <a:pos x="0" y="0"/>
                          </a:cxn>
                        </a:cxnLst>
                        <a:rect l="0" t="0" r="r" b="b"/>
                        <a:pathLst>
                          <a:path w="8" h="2">
                            <a:moveTo>
                              <a:pt x="0" y="0"/>
                            </a:moveTo>
                            <a:lnTo>
                              <a:pt x="2" y="2"/>
                            </a:lnTo>
                            <a:lnTo>
                              <a:pt x="8" y="2"/>
                            </a:lnTo>
                            <a:lnTo>
                              <a:pt x="8"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7" name="Freeform 2906"/>
                      <p:cNvSpPr>
                        <a:spLocks/>
                      </p:cNvSpPr>
                      <p:nvPr/>
                    </p:nvSpPr>
                    <p:spPr bwMode="auto">
                      <a:xfrm>
                        <a:off x="1836" y="1681"/>
                        <a:ext cx="6" cy="6"/>
                      </a:xfrm>
                      <a:custGeom>
                        <a:avLst/>
                        <a:gdLst/>
                        <a:ahLst/>
                        <a:cxnLst>
                          <a:cxn ang="0">
                            <a:pos x="0" y="4"/>
                          </a:cxn>
                          <a:cxn ang="0">
                            <a:pos x="6" y="6"/>
                          </a:cxn>
                          <a:cxn ang="0">
                            <a:pos x="6" y="2"/>
                          </a:cxn>
                          <a:cxn ang="0">
                            <a:pos x="0" y="0"/>
                          </a:cxn>
                          <a:cxn ang="0">
                            <a:pos x="0" y="4"/>
                          </a:cxn>
                        </a:cxnLst>
                        <a:rect l="0" t="0" r="r" b="b"/>
                        <a:pathLst>
                          <a:path w="6" h="6">
                            <a:moveTo>
                              <a:pt x="0" y="4"/>
                            </a:moveTo>
                            <a:lnTo>
                              <a:pt x="6" y="6"/>
                            </a:lnTo>
                            <a:lnTo>
                              <a:pt x="6" y="2"/>
                            </a:lnTo>
                            <a:lnTo>
                              <a:pt x="0" y="0"/>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38" name="Rectangle 2907"/>
                      <p:cNvSpPr>
                        <a:spLocks noChangeArrowheads="1"/>
                      </p:cNvSpPr>
                      <p:nvPr/>
                    </p:nvSpPr>
                    <p:spPr bwMode="auto">
                      <a:xfrm>
                        <a:off x="2472" y="1335"/>
                        <a:ext cx="2"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39" name="Freeform 2908"/>
                      <p:cNvSpPr>
                        <a:spLocks/>
                      </p:cNvSpPr>
                      <p:nvPr/>
                    </p:nvSpPr>
                    <p:spPr bwMode="auto">
                      <a:xfrm>
                        <a:off x="1496" y="2219"/>
                        <a:ext cx="4" cy="4"/>
                      </a:xfrm>
                      <a:custGeom>
                        <a:avLst/>
                        <a:gdLst/>
                        <a:ahLst/>
                        <a:cxnLst>
                          <a:cxn ang="0">
                            <a:pos x="0" y="0"/>
                          </a:cxn>
                          <a:cxn ang="0">
                            <a:pos x="0" y="2"/>
                          </a:cxn>
                          <a:cxn ang="0">
                            <a:pos x="4" y="4"/>
                          </a:cxn>
                          <a:cxn ang="0">
                            <a:pos x="4" y="0"/>
                          </a:cxn>
                          <a:cxn ang="0">
                            <a:pos x="0" y="0"/>
                          </a:cxn>
                          <a:cxn ang="0">
                            <a:pos x="0" y="0"/>
                          </a:cxn>
                        </a:cxnLst>
                        <a:rect l="0" t="0" r="r" b="b"/>
                        <a:pathLst>
                          <a:path w="4" h="4">
                            <a:moveTo>
                              <a:pt x="0" y="0"/>
                            </a:moveTo>
                            <a:lnTo>
                              <a:pt x="0" y="2"/>
                            </a:lnTo>
                            <a:lnTo>
                              <a:pt x="4" y="4"/>
                            </a:lnTo>
                            <a:lnTo>
                              <a:pt x="4" y="0"/>
                            </a:lnTo>
                            <a:lnTo>
                              <a:pt x="0"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0" name="Freeform 2909"/>
                      <p:cNvSpPr>
                        <a:spLocks/>
                      </p:cNvSpPr>
                      <p:nvPr/>
                    </p:nvSpPr>
                    <p:spPr bwMode="auto">
                      <a:xfrm>
                        <a:off x="2472" y="1581"/>
                        <a:ext cx="644" cy="62"/>
                      </a:xfrm>
                      <a:custGeom>
                        <a:avLst/>
                        <a:gdLst/>
                        <a:ahLst/>
                        <a:cxnLst>
                          <a:cxn ang="0">
                            <a:pos x="644" y="62"/>
                          </a:cxn>
                          <a:cxn ang="0">
                            <a:pos x="642" y="54"/>
                          </a:cxn>
                          <a:cxn ang="0">
                            <a:pos x="474" y="0"/>
                          </a:cxn>
                          <a:cxn ang="0">
                            <a:pos x="0" y="2"/>
                          </a:cxn>
                          <a:cxn ang="0">
                            <a:pos x="0" y="6"/>
                          </a:cxn>
                          <a:cxn ang="0">
                            <a:pos x="474" y="4"/>
                          </a:cxn>
                          <a:cxn ang="0">
                            <a:pos x="644" y="62"/>
                          </a:cxn>
                        </a:cxnLst>
                        <a:rect l="0" t="0" r="r" b="b"/>
                        <a:pathLst>
                          <a:path w="644" h="62">
                            <a:moveTo>
                              <a:pt x="644" y="62"/>
                            </a:moveTo>
                            <a:lnTo>
                              <a:pt x="642" y="54"/>
                            </a:lnTo>
                            <a:lnTo>
                              <a:pt x="474" y="0"/>
                            </a:lnTo>
                            <a:lnTo>
                              <a:pt x="0" y="2"/>
                            </a:lnTo>
                            <a:lnTo>
                              <a:pt x="0" y="6"/>
                            </a:lnTo>
                            <a:lnTo>
                              <a:pt x="474" y="4"/>
                            </a:lnTo>
                            <a:lnTo>
                              <a:pt x="644" y="6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1" name="Rectangle 2910"/>
                      <p:cNvSpPr>
                        <a:spLocks noChangeArrowheads="1"/>
                      </p:cNvSpPr>
                      <p:nvPr/>
                    </p:nvSpPr>
                    <p:spPr bwMode="auto">
                      <a:xfrm>
                        <a:off x="2472" y="1583"/>
                        <a:ext cx="1" cy="4"/>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42" name="Freeform 2911"/>
                      <p:cNvSpPr>
                        <a:spLocks/>
                      </p:cNvSpPr>
                      <p:nvPr/>
                    </p:nvSpPr>
                    <p:spPr bwMode="auto">
                      <a:xfrm>
                        <a:off x="3896" y="1623"/>
                        <a:ext cx="4" cy="6"/>
                      </a:xfrm>
                      <a:custGeom>
                        <a:avLst/>
                        <a:gdLst/>
                        <a:ahLst/>
                        <a:cxnLst>
                          <a:cxn ang="0">
                            <a:pos x="4" y="4"/>
                          </a:cxn>
                          <a:cxn ang="0">
                            <a:pos x="4" y="4"/>
                          </a:cxn>
                          <a:cxn ang="0">
                            <a:pos x="0" y="0"/>
                          </a:cxn>
                          <a:cxn ang="0">
                            <a:pos x="0" y="4"/>
                          </a:cxn>
                          <a:cxn ang="0">
                            <a:pos x="2" y="6"/>
                          </a:cxn>
                          <a:cxn ang="0">
                            <a:pos x="4" y="4"/>
                          </a:cxn>
                        </a:cxnLst>
                        <a:rect l="0" t="0" r="r" b="b"/>
                        <a:pathLst>
                          <a:path w="4" h="6">
                            <a:moveTo>
                              <a:pt x="4" y="4"/>
                            </a:moveTo>
                            <a:lnTo>
                              <a:pt x="4" y="4"/>
                            </a:lnTo>
                            <a:lnTo>
                              <a:pt x="0" y="0"/>
                            </a:lnTo>
                            <a:lnTo>
                              <a:pt x="0" y="4"/>
                            </a:lnTo>
                            <a:lnTo>
                              <a:pt x="2" y="6"/>
                            </a:lnTo>
                            <a:lnTo>
                              <a:pt x="4"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3" name="Freeform 2912"/>
                      <p:cNvSpPr>
                        <a:spLocks/>
                      </p:cNvSpPr>
                      <p:nvPr/>
                    </p:nvSpPr>
                    <p:spPr bwMode="auto">
                      <a:xfrm>
                        <a:off x="3440" y="1043"/>
                        <a:ext cx="6" cy="6"/>
                      </a:xfrm>
                      <a:custGeom>
                        <a:avLst/>
                        <a:gdLst/>
                        <a:ahLst/>
                        <a:cxnLst>
                          <a:cxn ang="0">
                            <a:pos x="6" y="0"/>
                          </a:cxn>
                          <a:cxn ang="0">
                            <a:pos x="0" y="4"/>
                          </a:cxn>
                          <a:cxn ang="0">
                            <a:pos x="0" y="6"/>
                          </a:cxn>
                          <a:cxn ang="0">
                            <a:pos x="4" y="6"/>
                          </a:cxn>
                          <a:cxn ang="0">
                            <a:pos x="6" y="0"/>
                          </a:cxn>
                        </a:cxnLst>
                        <a:rect l="0" t="0" r="r" b="b"/>
                        <a:pathLst>
                          <a:path w="6" h="6">
                            <a:moveTo>
                              <a:pt x="6" y="0"/>
                            </a:moveTo>
                            <a:lnTo>
                              <a:pt x="0" y="4"/>
                            </a:lnTo>
                            <a:lnTo>
                              <a:pt x="0" y="6"/>
                            </a:lnTo>
                            <a:lnTo>
                              <a:pt x="4" y="6"/>
                            </a:lnTo>
                            <a:lnTo>
                              <a:pt x="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4" name="Freeform 2913"/>
                      <p:cNvSpPr>
                        <a:spLocks/>
                      </p:cNvSpPr>
                      <p:nvPr/>
                    </p:nvSpPr>
                    <p:spPr bwMode="auto">
                      <a:xfrm>
                        <a:off x="3362" y="1049"/>
                        <a:ext cx="576" cy="1180"/>
                      </a:xfrm>
                      <a:custGeom>
                        <a:avLst/>
                        <a:gdLst/>
                        <a:ahLst/>
                        <a:cxnLst>
                          <a:cxn ang="0">
                            <a:pos x="0" y="130"/>
                          </a:cxn>
                          <a:cxn ang="0">
                            <a:pos x="30" y="268"/>
                          </a:cxn>
                          <a:cxn ang="0">
                            <a:pos x="168" y="352"/>
                          </a:cxn>
                          <a:cxn ang="0">
                            <a:pos x="178" y="410"/>
                          </a:cxn>
                          <a:cxn ang="0">
                            <a:pos x="194" y="484"/>
                          </a:cxn>
                          <a:cxn ang="0">
                            <a:pos x="266" y="554"/>
                          </a:cxn>
                          <a:cxn ang="0">
                            <a:pos x="274" y="610"/>
                          </a:cxn>
                          <a:cxn ang="0">
                            <a:pos x="214" y="676"/>
                          </a:cxn>
                          <a:cxn ang="0">
                            <a:pos x="234" y="716"/>
                          </a:cxn>
                          <a:cxn ang="0">
                            <a:pos x="194" y="786"/>
                          </a:cxn>
                          <a:cxn ang="0">
                            <a:pos x="194" y="816"/>
                          </a:cxn>
                          <a:cxn ang="0">
                            <a:pos x="196" y="816"/>
                          </a:cxn>
                          <a:cxn ang="0">
                            <a:pos x="196" y="820"/>
                          </a:cxn>
                          <a:cxn ang="0">
                            <a:pos x="194" y="820"/>
                          </a:cxn>
                          <a:cxn ang="0">
                            <a:pos x="194" y="834"/>
                          </a:cxn>
                          <a:cxn ang="0">
                            <a:pos x="292" y="960"/>
                          </a:cxn>
                          <a:cxn ang="0">
                            <a:pos x="324" y="960"/>
                          </a:cxn>
                          <a:cxn ang="0">
                            <a:pos x="324" y="1040"/>
                          </a:cxn>
                          <a:cxn ang="0">
                            <a:pos x="404" y="1098"/>
                          </a:cxn>
                          <a:cxn ang="0">
                            <a:pos x="434" y="1180"/>
                          </a:cxn>
                          <a:cxn ang="0">
                            <a:pos x="456" y="1136"/>
                          </a:cxn>
                          <a:cxn ang="0">
                            <a:pos x="506" y="1162"/>
                          </a:cxn>
                          <a:cxn ang="0">
                            <a:pos x="548" y="1106"/>
                          </a:cxn>
                          <a:cxn ang="0">
                            <a:pos x="560" y="1024"/>
                          </a:cxn>
                          <a:cxn ang="0">
                            <a:pos x="576" y="942"/>
                          </a:cxn>
                          <a:cxn ang="0">
                            <a:pos x="538" y="578"/>
                          </a:cxn>
                          <a:cxn ang="0">
                            <a:pos x="536" y="580"/>
                          </a:cxn>
                          <a:cxn ang="0">
                            <a:pos x="534" y="578"/>
                          </a:cxn>
                          <a:cxn ang="0">
                            <a:pos x="574" y="942"/>
                          </a:cxn>
                          <a:cxn ang="0">
                            <a:pos x="554" y="1024"/>
                          </a:cxn>
                          <a:cxn ang="0">
                            <a:pos x="546" y="1106"/>
                          </a:cxn>
                          <a:cxn ang="0">
                            <a:pos x="506" y="1158"/>
                          </a:cxn>
                          <a:cxn ang="0">
                            <a:pos x="456" y="1130"/>
                          </a:cxn>
                          <a:cxn ang="0">
                            <a:pos x="434" y="1172"/>
                          </a:cxn>
                          <a:cxn ang="0">
                            <a:pos x="406" y="1094"/>
                          </a:cxn>
                          <a:cxn ang="0">
                            <a:pos x="328" y="1040"/>
                          </a:cxn>
                          <a:cxn ang="0">
                            <a:pos x="328" y="956"/>
                          </a:cxn>
                          <a:cxn ang="0">
                            <a:pos x="294" y="956"/>
                          </a:cxn>
                          <a:cxn ang="0">
                            <a:pos x="198" y="834"/>
                          </a:cxn>
                          <a:cxn ang="0">
                            <a:pos x="198" y="786"/>
                          </a:cxn>
                          <a:cxn ang="0">
                            <a:pos x="240" y="716"/>
                          </a:cxn>
                          <a:cxn ang="0">
                            <a:pos x="220" y="676"/>
                          </a:cxn>
                          <a:cxn ang="0">
                            <a:pos x="276" y="610"/>
                          </a:cxn>
                          <a:cxn ang="0">
                            <a:pos x="268" y="550"/>
                          </a:cxn>
                          <a:cxn ang="0">
                            <a:pos x="198" y="484"/>
                          </a:cxn>
                          <a:cxn ang="0">
                            <a:pos x="170" y="350"/>
                          </a:cxn>
                          <a:cxn ang="0">
                            <a:pos x="32" y="268"/>
                          </a:cxn>
                          <a:cxn ang="0">
                            <a:pos x="4" y="134"/>
                          </a:cxn>
                          <a:cxn ang="0">
                            <a:pos x="40" y="92"/>
                          </a:cxn>
                          <a:cxn ang="0">
                            <a:pos x="82" y="0"/>
                          </a:cxn>
                          <a:cxn ang="0">
                            <a:pos x="78" y="0"/>
                          </a:cxn>
                          <a:cxn ang="0">
                            <a:pos x="40" y="88"/>
                          </a:cxn>
                          <a:cxn ang="0">
                            <a:pos x="0" y="130"/>
                          </a:cxn>
                        </a:cxnLst>
                        <a:rect l="0" t="0" r="r" b="b"/>
                        <a:pathLst>
                          <a:path w="576" h="1180">
                            <a:moveTo>
                              <a:pt x="0" y="130"/>
                            </a:moveTo>
                            <a:lnTo>
                              <a:pt x="30" y="268"/>
                            </a:lnTo>
                            <a:lnTo>
                              <a:pt x="168" y="352"/>
                            </a:lnTo>
                            <a:lnTo>
                              <a:pt x="178" y="410"/>
                            </a:lnTo>
                            <a:lnTo>
                              <a:pt x="194" y="484"/>
                            </a:lnTo>
                            <a:lnTo>
                              <a:pt x="266" y="554"/>
                            </a:lnTo>
                            <a:lnTo>
                              <a:pt x="274" y="610"/>
                            </a:lnTo>
                            <a:lnTo>
                              <a:pt x="214" y="676"/>
                            </a:lnTo>
                            <a:lnTo>
                              <a:pt x="234" y="716"/>
                            </a:lnTo>
                            <a:lnTo>
                              <a:pt x="194" y="786"/>
                            </a:lnTo>
                            <a:lnTo>
                              <a:pt x="194" y="816"/>
                            </a:lnTo>
                            <a:lnTo>
                              <a:pt x="196" y="816"/>
                            </a:lnTo>
                            <a:lnTo>
                              <a:pt x="196" y="820"/>
                            </a:lnTo>
                            <a:lnTo>
                              <a:pt x="194" y="820"/>
                            </a:lnTo>
                            <a:lnTo>
                              <a:pt x="194" y="834"/>
                            </a:lnTo>
                            <a:lnTo>
                              <a:pt x="292" y="960"/>
                            </a:lnTo>
                            <a:lnTo>
                              <a:pt x="324" y="960"/>
                            </a:lnTo>
                            <a:lnTo>
                              <a:pt x="324" y="1040"/>
                            </a:lnTo>
                            <a:lnTo>
                              <a:pt x="404" y="1098"/>
                            </a:lnTo>
                            <a:lnTo>
                              <a:pt x="434" y="1180"/>
                            </a:lnTo>
                            <a:lnTo>
                              <a:pt x="456" y="1136"/>
                            </a:lnTo>
                            <a:lnTo>
                              <a:pt x="506" y="1162"/>
                            </a:lnTo>
                            <a:lnTo>
                              <a:pt x="548" y="1106"/>
                            </a:lnTo>
                            <a:lnTo>
                              <a:pt x="560" y="1024"/>
                            </a:lnTo>
                            <a:lnTo>
                              <a:pt x="576" y="942"/>
                            </a:lnTo>
                            <a:lnTo>
                              <a:pt x="538" y="578"/>
                            </a:lnTo>
                            <a:lnTo>
                              <a:pt x="536" y="580"/>
                            </a:lnTo>
                            <a:lnTo>
                              <a:pt x="534" y="578"/>
                            </a:lnTo>
                            <a:lnTo>
                              <a:pt x="574" y="942"/>
                            </a:lnTo>
                            <a:lnTo>
                              <a:pt x="554" y="1024"/>
                            </a:lnTo>
                            <a:lnTo>
                              <a:pt x="546" y="1106"/>
                            </a:lnTo>
                            <a:lnTo>
                              <a:pt x="506" y="1158"/>
                            </a:lnTo>
                            <a:lnTo>
                              <a:pt x="456" y="1130"/>
                            </a:lnTo>
                            <a:lnTo>
                              <a:pt x="434" y="1172"/>
                            </a:lnTo>
                            <a:lnTo>
                              <a:pt x="406" y="1094"/>
                            </a:lnTo>
                            <a:lnTo>
                              <a:pt x="328" y="1040"/>
                            </a:lnTo>
                            <a:lnTo>
                              <a:pt x="328" y="956"/>
                            </a:lnTo>
                            <a:lnTo>
                              <a:pt x="294" y="956"/>
                            </a:lnTo>
                            <a:lnTo>
                              <a:pt x="198" y="834"/>
                            </a:lnTo>
                            <a:lnTo>
                              <a:pt x="198" y="786"/>
                            </a:lnTo>
                            <a:lnTo>
                              <a:pt x="240" y="716"/>
                            </a:lnTo>
                            <a:lnTo>
                              <a:pt x="220" y="676"/>
                            </a:lnTo>
                            <a:lnTo>
                              <a:pt x="276" y="610"/>
                            </a:lnTo>
                            <a:lnTo>
                              <a:pt x="268" y="550"/>
                            </a:lnTo>
                            <a:lnTo>
                              <a:pt x="198" y="484"/>
                            </a:lnTo>
                            <a:lnTo>
                              <a:pt x="170" y="350"/>
                            </a:lnTo>
                            <a:lnTo>
                              <a:pt x="32" y="268"/>
                            </a:lnTo>
                            <a:lnTo>
                              <a:pt x="4" y="134"/>
                            </a:lnTo>
                            <a:lnTo>
                              <a:pt x="40" y="92"/>
                            </a:lnTo>
                            <a:lnTo>
                              <a:pt x="82" y="0"/>
                            </a:lnTo>
                            <a:lnTo>
                              <a:pt x="78" y="0"/>
                            </a:lnTo>
                            <a:lnTo>
                              <a:pt x="40" y="88"/>
                            </a:lnTo>
                            <a:lnTo>
                              <a:pt x="0" y="13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5" name="Rectangle 2914"/>
                      <p:cNvSpPr>
                        <a:spLocks noChangeArrowheads="1"/>
                      </p:cNvSpPr>
                      <p:nvPr/>
                    </p:nvSpPr>
                    <p:spPr bwMode="auto">
                      <a:xfrm>
                        <a:off x="3556" y="1865"/>
                        <a:ext cx="2" cy="4"/>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46" name="Freeform 2915"/>
                      <p:cNvSpPr>
                        <a:spLocks/>
                      </p:cNvSpPr>
                      <p:nvPr/>
                    </p:nvSpPr>
                    <p:spPr bwMode="auto">
                      <a:xfrm>
                        <a:off x="3112" y="1457"/>
                        <a:ext cx="428" cy="24"/>
                      </a:xfrm>
                      <a:custGeom>
                        <a:avLst/>
                        <a:gdLst/>
                        <a:ahLst/>
                        <a:cxnLst>
                          <a:cxn ang="0">
                            <a:pos x="428" y="6"/>
                          </a:cxn>
                          <a:cxn ang="0">
                            <a:pos x="426" y="0"/>
                          </a:cxn>
                          <a:cxn ang="0">
                            <a:pos x="0" y="16"/>
                          </a:cxn>
                          <a:cxn ang="0">
                            <a:pos x="0" y="24"/>
                          </a:cxn>
                          <a:cxn ang="0">
                            <a:pos x="428" y="6"/>
                          </a:cxn>
                        </a:cxnLst>
                        <a:rect l="0" t="0" r="r" b="b"/>
                        <a:pathLst>
                          <a:path w="428" h="24">
                            <a:moveTo>
                              <a:pt x="428" y="6"/>
                            </a:moveTo>
                            <a:lnTo>
                              <a:pt x="426" y="0"/>
                            </a:lnTo>
                            <a:lnTo>
                              <a:pt x="0" y="16"/>
                            </a:lnTo>
                            <a:lnTo>
                              <a:pt x="0" y="24"/>
                            </a:lnTo>
                            <a:lnTo>
                              <a:pt x="428"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7" name="Freeform 2916"/>
                      <p:cNvSpPr>
                        <a:spLocks/>
                      </p:cNvSpPr>
                      <p:nvPr/>
                    </p:nvSpPr>
                    <p:spPr bwMode="auto">
                      <a:xfrm>
                        <a:off x="3104" y="1481"/>
                        <a:ext cx="1" cy="2"/>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8" name="Freeform 2917"/>
                      <p:cNvSpPr>
                        <a:spLocks/>
                      </p:cNvSpPr>
                      <p:nvPr/>
                    </p:nvSpPr>
                    <p:spPr bwMode="auto">
                      <a:xfrm>
                        <a:off x="3104" y="1473"/>
                        <a:ext cx="8" cy="10"/>
                      </a:xfrm>
                      <a:custGeom>
                        <a:avLst/>
                        <a:gdLst/>
                        <a:ahLst/>
                        <a:cxnLst>
                          <a:cxn ang="0">
                            <a:pos x="8" y="0"/>
                          </a:cxn>
                          <a:cxn ang="0">
                            <a:pos x="0" y="0"/>
                          </a:cxn>
                          <a:cxn ang="0">
                            <a:pos x="0" y="8"/>
                          </a:cxn>
                          <a:cxn ang="0">
                            <a:pos x="0" y="10"/>
                          </a:cxn>
                          <a:cxn ang="0">
                            <a:pos x="8" y="8"/>
                          </a:cxn>
                          <a:cxn ang="0">
                            <a:pos x="8" y="0"/>
                          </a:cxn>
                        </a:cxnLst>
                        <a:rect l="0" t="0" r="r" b="b"/>
                        <a:pathLst>
                          <a:path w="8" h="10">
                            <a:moveTo>
                              <a:pt x="8" y="0"/>
                            </a:moveTo>
                            <a:lnTo>
                              <a:pt x="0" y="0"/>
                            </a:lnTo>
                            <a:lnTo>
                              <a:pt x="0" y="8"/>
                            </a:lnTo>
                            <a:lnTo>
                              <a:pt x="0" y="10"/>
                            </a:lnTo>
                            <a:lnTo>
                              <a:pt x="8" y="8"/>
                            </a:lnTo>
                            <a:lnTo>
                              <a:pt x="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49" name="Freeform 2918"/>
                      <p:cNvSpPr>
                        <a:spLocks/>
                      </p:cNvSpPr>
                      <p:nvPr/>
                    </p:nvSpPr>
                    <p:spPr bwMode="auto">
                      <a:xfrm>
                        <a:off x="2474" y="1229"/>
                        <a:ext cx="612" cy="6"/>
                      </a:xfrm>
                      <a:custGeom>
                        <a:avLst/>
                        <a:gdLst/>
                        <a:ahLst/>
                        <a:cxnLst>
                          <a:cxn ang="0">
                            <a:pos x="612" y="0"/>
                          </a:cxn>
                          <a:cxn ang="0">
                            <a:pos x="0" y="2"/>
                          </a:cxn>
                          <a:cxn ang="0">
                            <a:pos x="0" y="6"/>
                          </a:cxn>
                          <a:cxn ang="0">
                            <a:pos x="610" y="4"/>
                          </a:cxn>
                          <a:cxn ang="0">
                            <a:pos x="612" y="0"/>
                          </a:cxn>
                        </a:cxnLst>
                        <a:rect l="0" t="0" r="r" b="b"/>
                        <a:pathLst>
                          <a:path w="612" h="6">
                            <a:moveTo>
                              <a:pt x="612" y="0"/>
                            </a:moveTo>
                            <a:lnTo>
                              <a:pt x="0" y="2"/>
                            </a:lnTo>
                            <a:lnTo>
                              <a:pt x="0" y="6"/>
                            </a:lnTo>
                            <a:lnTo>
                              <a:pt x="610" y="4"/>
                            </a:lnTo>
                            <a:lnTo>
                              <a:pt x="61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0" name="Rectangle 2919"/>
                      <p:cNvSpPr>
                        <a:spLocks noChangeArrowheads="1"/>
                      </p:cNvSpPr>
                      <p:nvPr/>
                    </p:nvSpPr>
                    <p:spPr bwMode="auto">
                      <a:xfrm>
                        <a:off x="2472" y="1231"/>
                        <a:ext cx="2" cy="4"/>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51" name="Freeform 2920"/>
                      <p:cNvSpPr>
                        <a:spLocks/>
                      </p:cNvSpPr>
                      <p:nvPr/>
                    </p:nvSpPr>
                    <p:spPr bwMode="auto">
                      <a:xfrm>
                        <a:off x="3808" y="1181"/>
                        <a:ext cx="14" cy="4"/>
                      </a:xfrm>
                      <a:custGeom>
                        <a:avLst/>
                        <a:gdLst/>
                        <a:ahLst/>
                        <a:cxnLst>
                          <a:cxn ang="0">
                            <a:pos x="4" y="4"/>
                          </a:cxn>
                          <a:cxn ang="0">
                            <a:pos x="14" y="4"/>
                          </a:cxn>
                          <a:cxn ang="0">
                            <a:pos x="4" y="0"/>
                          </a:cxn>
                          <a:cxn ang="0">
                            <a:pos x="0" y="0"/>
                          </a:cxn>
                          <a:cxn ang="0">
                            <a:pos x="0" y="4"/>
                          </a:cxn>
                          <a:cxn ang="0">
                            <a:pos x="4" y="4"/>
                          </a:cxn>
                        </a:cxnLst>
                        <a:rect l="0" t="0" r="r" b="b"/>
                        <a:pathLst>
                          <a:path w="14" h="4">
                            <a:moveTo>
                              <a:pt x="4" y="4"/>
                            </a:moveTo>
                            <a:lnTo>
                              <a:pt x="14" y="4"/>
                            </a:lnTo>
                            <a:lnTo>
                              <a:pt x="4" y="0"/>
                            </a:lnTo>
                            <a:lnTo>
                              <a:pt x="0" y="0"/>
                            </a:lnTo>
                            <a:lnTo>
                              <a:pt x="0" y="4"/>
                            </a:lnTo>
                            <a:lnTo>
                              <a:pt x="4"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2" name="Freeform 2921"/>
                      <p:cNvSpPr>
                        <a:spLocks/>
                      </p:cNvSpPr>
                      <p:nvPr/>
                    </p:nvSpPr>
                    <p:spPr bwMode="auto">
                      <a:xfrm>
                        <a:off x="3540" y="1063"/>
                        <a:ext cx="272" cy="122"/>
                      </a:xfrm>
                      <a:custGeom>
                        <a:avLst/>
                        <a:gdLst/>
                        <a:ahLst/>
                        <a:cxnLst>
                          <a:cxn ang="0">
                            <a:pos x="230" y="84"/>
                          </a:cxn>
                          <a:cxn ang="0">
                            <a:pos x="240" y="122"/>
                          </a:cxn>
                          <a:cxn ang="0">
                            <a:pos x="272" y="122"/>
                          </a:cxn>
                          <a:cxn ang="0">
                            <a:pos x="268" y="122"/>
                          </a:cxn>
                          <a:cxn ang="0">
                            <a:pos x="268" y="118"/>
                          </a:cxn>
                          <a:cxn ang="0">
                            <a:pos x="242" y="118"/>
                          </a:cxn>
                          <a:cxn ang="0">
                            <a:pos x="236" y="80"/>
                          </a:cxn>
                          <a:cxn ang="0">
                            <a:pos x="24" y="52"/>
                          </a:cxn>
                          <a:cxn ang="0">
                            <a:pos x="6" y="0"/>
                          </a:cxn>
                          <a:cxn ang="0">
                            <a:pos x="0" y="0"/>
                          </a:cxn>
                          <a:cxn ang="0">
                            <a:pos x="22" y="58"/>
                          </a:cxn>
                          <a:cxn ang="0">
                            <a:pos x="230" y="84"/>
                          </a:cxn>
                        </a:cxnLst>
                        <a:rect l="0" t="0" r="r" b="b"/>
                        <a:pathLst>
                          <a:path w="272" h="122">
                            <a:moveTo>
                              <a:pt x="230" y="84"/>
                            </a:moveTo>
                            <a:lnTo>
                              <a:pt x="240" y="122"/>
                            </a:lnTo>
                            <a:lnTo>
                              <a:pt x="272" y="122"/>
                            </a:lnTo>
                            <a:lnTo>
                              <a:pt x="268" y="122"/>
                            </a:lnTo>
                            <a:lnTo>
                              <a:pt x="268" y="118"/>
                            </a:lnTo>
                            <a:lnTo>
                              <a:pt x="242" y="118"/>
                            </a:lnTo>
                            <a:lnTo>
                              <a:pt x="236" y="80"/>
                            </a:lnTo>
                            <a:lnTo>
                              <a:pt x="24" y="52"/>
                            </a:lnTo>
                            <a:lnTo>
                              <a:pt x="6" y="0"/>
                            </a:lnTo>
                            <a:lnTo>
                              <a:pt x="0" y="0"/>
                            </a:lnTo>
                            <a:lnTo>
                              <a:pt x="22" y="58"/>
                            </a:lnTo>
                            <a:lnTo>
                              <a:pt x="230" y="8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3" name="Freeform 2922"/>
                      <p:cNvSpPr>
                        <a:spLocks/>
                      </p:cNvSpPr>
                      <p:nvPr/>
                    </p:nvSpPr>
                    <p:spPr bwMode="auto">
                      <a:xfrm>
                        <a:off x="3232" y="1939"/>
                        <a:ext cx="142" cy="762"/>
                      </a:xfrm>
                      <a:custGeom>
                        <a:avLst/>
                        <a:gdLst/>
                        <a:ahLst/>
                        <a:cxnLst>
                          <a:cxn ang="0">
                            <a:pos x="28" y="66"/>
                          </a:cxn>
                          <a:cxn ang="0">
                            <a:pos x="46" y="0"/>
                          </a:cxn>
                          <a:cxn ang="0">
                            <a:pos x="0" y="0"/>
                          </a:cxn>
                          <a:cxn ang="0">
                            <a:pos x="2" y="6"/>
                          </a:cxn>
                          <a:cxn ang="0">
                            <a:pos x="38" y="6"/>
                          </a:cxn>
                          <a:cxn ang="0">
                            <a:pos x="22" y="68"/>
                          </a:cxn>
                          <a:cxn ang="0">
                            <a:pos x="76" y="96"/>
                          </a:cxn>
                          <a:cxn ang="0">
                            <a:pos x="96" y="344"/>
                          </a:cxn>
                          <a:cxn ang="0">
                            <a:pos x="102" y="344"/>
                          </a:cxn>
                          <a:cxn ang="0">
                            <a:pos x="100" y="350"/>
                          </a:cxn>
                          <a:cxn ang="0">
                            <a:pos x="98" y="350"/>
                          </a:cxn>
                          <a:cxn ang="0">
                            <a:pos x="132" y="758"/>
                          </a:cxn>
                          <a:cxn ang="0">
                            <a:pos x="142" y="762"/>
                          </a:cxn>
                          <a:cxn ang="0">
                            <a:pos x="110" y="404"/>
                          </a:cxn>
                          <a:cxn ang="0">
                            <a:pos x="106" y="404"/>
                          </a:cxn>
                          <a:cxn ang="0">
                            <a:pos x="106" y="400"/>
                          </a:cxn>
                          <a:cxn ang="0">
                            <a:pos x="110" y="400"/>
                          </a:cxn>
                          <a:cxn ang="0">
                            <a:pos x="82" y="90"/>
                          </a:cxn>
                          <a:cxn ang="0">
                            <a:pos x="28" y="66"/>
                          </a:cxn>
                        </a:cxnLst>
                        <a:rect l="0" t="0" r="r" b="b"/>
                        <a:pathLst>
                          <a:path w="142" h="762">
                            <a:moveTo>
                              <a:pt x="28" y="66"/>
                            </a:moveTo>
                            <a:lnTo>
                              <a:pt x="46" y="0"/>
                            </a:lnTo>
                            <a:lnTo>
                              <a:pt x="0" y="0"/>
                            </a:lnTo>
                            <a:lnTo>
                              <a:pt x="2" y="6"/>
                            </a:lnTo>
                            <a:lnTo>
                              <a:pt x="38" y="6"/>
                            </a:lnTo>
                            <a:lnTo>
                              <a:pt x="22" y="68"/>
                            </a:lnTo>
                            <a:lnTo>
                              <a:pt x="76" y="96"/>
                            </a:lnTo>
                            <a:lnTo>
                              <a:pt x="96" y="344"/>
                            </a:lnTo>
                            <a:lnTo>
                              <a:pt x="102" y="344"/>
                            </a:lnTo>
                            <a:lnTo>
                              <a:pt x="100" y="350"/>
                            </a:lnTo>
                            <a:lnTo>
                              <a:pt x="98" y="350"/>
                            </a:lnTo>
                            <a:lnTo>
                              <a:pt x="132" y="758"/>
                            </a:lnTo>
                            <a:lnTo>
                              <a:pt x="142" y="762"/>
                            </a:lnTo>
                            <a:lnTo>
                              <a:pt x="110" y="404"/>
                            </a:lnTo>
                            <a:lnTo>
                              <a:pt x="106" y="404"/>
                            </a:lnTo>
                            <a:lnTo>
                              <a:pt x="106" y="400"/>
                            </a:lnTo>
                            <a:lnTo>
                              <a:pt x="110" y="400"/>
                            </a:lnTo>
                            <a:lnTo>
                              <a:pt x="82" y="90"/>
                            </a:lnTo>
                            <a:lnTo>
                              <a:pt x="28" y="6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4" name="Freeform 2923"/>
                      <p:cNvSpPr>
                        <a:spLocks/>
                      </p:cNvSpPr>
                      <p:nvPr/>
                    </p:nvSpPr>
                    <p:spPr bwMode="auto">
                      <a:xfrm>
                        <a:off x="3364" y="2697"/>
                        <a:ext cx="10" cy="8"/>
                      </a:xfrm>
                      <a:custGeom>
                        <a:avLst/>
                        <a:gdLst/>
                        <a:ahLst/>
                        <a:cxnLst>
                          <a:cxn ang="0">
                            <a:pos x="0" y="4"/>
                          </a:cxn>
                          <a:cxn ang="0">
                            <a:pos x="10" y="8"/>
                          </a:cxn>
                          <a:cxn ang="0">
                            <a:pos x="10" y="4"/>
                          </a:cxn>
                          <a:cxn ang="0">
                            <a:pos x="0" y="0"/>
                          </a:cxn>
                          <a:cxn ang="0">
                            <a:pos x="0" y="4"/>
                          </a:cxn>
                        </a:cxnLst>
                        <a:rect l="0" t="0" r="r" b="b"/>
                        <a:pathLst>
                          <a:path w="10" h="8">
                            <a:moveTo>
                              <a:pt x="0" y="4"/>
                            </a:moveTo>
                            <a:lnTo>
                              <a:pt x="10" y="8"/>
                            </a:lnTo>
                            <a:lnTo>
                              <a:pt x="10" y="4"/>
                            </a:lnTo>
                            <a:lnTo>
                              <a:pt x="0" y="0"/>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5" name="Freeform 2924"/>
                      <p:cNvSpPr>
                        <a:spLocks/>
                      </p:cNvSpPr>
                      <p:nvPr/>
                    </p:nvSpPr>
                    <p:spPr bwMode="auto">
                      <a:xfrm>
                        <a:off x="3328" y="2283"/>
                        <a:ext cx="6" cy="6"/>
                      </a:xfrm>
                      <a:custGeom>
                        <a:avLst/>
                        <a:gdLst/>
                        <a:ahLst/>
                        <a:cxnLst>
                          <a:cxn ang="0">
                            <a:pos x="6" y="0"/>
                          </a:cxn>
                          <a:cxn ang="0">
                            <a:pos x="0" y="0"/>
                          </a:cxn>
                          <a:cxn ang="0">
                            <a:pos x="2" y="6"/>
                          </a:cxn>
                          <a:cxn ang="0">
                            <a:pos x="4" y="6"/>
                          </a:cxn>
                          <a:cxn ang="0">
                            <a:pos x="6" y="0"/>
                          </a:cxn>
                        </a:cxnLst>
                        <a:rect l="0" t="0" r="r" b="b"/>
                        <a:pathLst>
                          <a:path w="6" h="6">
                            <a:moveTo>
                              <a:pt x="6" y="0"/>
                            </a:moveTo>
                            <a:lnTo>
                              <a:pt x="0" y="0"/>
                            </a:lnTo>
                            <a:lnTo>
                              <a:pt x="2" y="6"/>
                            </a:lnTo>
                            <a:lnTo>
                              <a:pt x="4" y="6"/>
                            </a:lnTo>
                            <a:lnTo>
                              <a:pt x="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6" name="Freeform 2925"/>
                      <p:cNvSpPr>
                        <a:spLocks/>
                      </p:cNvSpPr>
                      <p:nvPr/>
                    </p:nvSpPr>
                    <p:spPr bwMode="auto">
                      <a:xfrm>
                        <a:off x="3226" y="1939"/>
                        <a:ext cx="8" cy="6"/>
                      </a:xfrm>
                      <a:custGeom>
                        <a:avLst/>
                        <a:gdLst/>
                        <a:ahLst/>
                        <a:cxnLst>
                          <a:cxn ang="0">
                            <a:pos x="0" y="0"/>
                          </a:cxn>
                          <a:cxn ang="0">
                            <a:pos x="0" y="6"/>
                          </a:cxn>
                          <a:cxn ang="0">
                            <a:pos x="8" y="6"/>
                          </a:cxn>
                          <a:cxn ang="0">
                            <a:pos x="6" y="0"/>
                          </a:cxn>
                          <a:cxn ang="0">
                            <a:pos x="0" y="0"/>
                          </a:cxn>
                        </a:cxnLst>
                        <a:rect l="0" t="0" r="r" b="b"/>
                        <a:pathLst>
                          <a:path w="8" h="6">
                            <a:moveTo>
                              <a:pt x="0" y="0"/>
                            </a:moveTo>
                            <a:lnTo>
                              <a:pt x="0" y="6"/>
                            </a:lnTo>
                            <a:lnTo>
                              <a:pt x="8" y="6"/>
                            </a:lnTo>
                            <a:lnTo>
                              <a:pt x="6"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7" name="Freeform 2926"/>
                      <p:cNvSpPr>
                        <a:spLocks/>
                      </p:cNvSpPr>
                      <p:nvPr/>
                    </p:nvSpPr>
                    <p:spPr bwMode="auto">
                      <a:xfrm>
                        <a:off x="5076" y="1971"/>
                        <a:ext cx="4" cy="4"/>
                      </a:xfrm>
                      <a:custGeom>
                        <a:avLst/>
                        <a:gdLst/>
                        <a:ahLst/>
                        <a:cxnLst>
                          <a:cxn ang="0">
                            <a:pos x="4" y="4"/>
                          </a:cxn>
                          <a:cxn ang="0">
                            <a:pos x="2" y="0"/>
                          </a:cxn>
                          <a:cxn ang="0">
                            <a:pos x="0" y="0"/>
                          </a:cxn>
                          <a:cxn ang="0">
                            <a:pos x="2" y="4"/>
                          </a:cxn>
                          <a:cxn ang="0">
                            <a:pos x="4" y="4"/>
                          </a:cxn>
                        </a:cxnLst>
                        <a:rect l="0" t="0" r="r" b="b"/>
                        <a:pathLst>
                          <a:path w="4" h="4">
                            <a:moveTo>
                              <a:pt x="4" y="4"/>
                            </a:moveTo>
                            <a:lnTo>
                              <a:pt x="2" y="0"/>
                            </a:lnTo>
                            <a:lnTo>
                              <a:pt x="0" y="0"/>
                            </a:lnTo>
                            <a:lnTo>
                              <a:pt x="2" y="4"/>
                            </a:lnTo>
                            <a:lnTo>
                              <a:pt x="4"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8" name="Freeform 2927"/>
                      <p:cNvSpPr>
                        <a:spLocks/>
                      </p:cNvSpPr>
                      <p:nvPr/>
                    </p:nvSpPr>
                    <p:spPr bwMode="auto">
                      <a:xfrm>
                        <a:off x="3342" y="1971"/>
                        <a:ext cx="1736" cy="412"/>
                      </a:xfrm>
                      <a:custGeom>
                        <a:avLst/>
                        <a:gdLst/>
                        <a:ahLst/>
                        <a:cxnLst>
                          <a:cxn ang="0">
                            <a:pos x="1024" y="202"/>
                          </a:cxn>
                          <a:cxn ang="0">
                            <a:pos x="1022" y="206"/>
                          </a:cxn>
                          <a:cxn ang="0">
                            <a:pos x="1014" y="210"/>
                          </a:cxn>
                          <a:cxn ang="0">
                            <a:pos x="1018" y="204"/>
                          </a:cxn>
                          <a:cxn ang="0">
                            <a:pos x="756" y="258"/>
                          </a:cxn>
                          <a:cxn ang="0">
                            <a:pos x="476" y="304"/>
                          </a:cxn>
                          <a:cxn ang="0">
                            <a:pos x="454" y="308"/>
                          </a:cxn>
                          <a:cxn ang="0">
                            <a:pos x="454" y="402"/>
                          </a:cxn>
                          <a:cxn ang="0">
                            <a:pos x="374" y="408"/>
                          </a:cxn>
                          <a:cxn ang="0">
                            <a:pos x="390" y="360"/>
                          </a:cxn>
                          <a:cxn ang="0">
                            <a:pos x="0" y="368"/>
                          </a:cxn>
                          <a:cxn ang="0">
                            <a:pos x="0" y="372"/>
                          </a:cxn>
                          <a:cxn ang="0">
                            <a:pos x="384" y="364"/>
                          </a:cxn>
                          <a:cxn ang="0">
                            <a:pos x="366" y="412"/>
                          </a:cxn>
                          <a:cxn ang="0">
                            <a:pos x="450" y="406"/>
                          </a:cxn>
                          <a:cxn ang="0">
                            <a:pos x="450" y="404"/>
                          </a:cxn>
                          <a:cxn ang="0">
                            <a:pos x="454" y="404"/>
                          </a:cxn>
                          <a:cxn ang="0">
                            <a:pos x="454" y="406"/>
                          </a:cxn>
                          <a:cxn ang="0">
                            <a:pos x="456" y="406"/>
                          </a:cxn>
                          <a:cxn ang="0">
                            <a:pos x="456" y="310"/>
                          </a:cxn>
                          <a:cxn ang="0">
                            <a:pos x="478" y="310"/>
                          </a:cxn>
                          <a:cxn ang="0">
                            <a:pos x="756" y="264"/>
                          </a:cxn>
                          <a:cxn ang="0">
                            <a:pos x="1186" y="176"/>
                          </a:cxn>
                          <a:cxn ang="0">
                            <a:pos x="1186" y="176"/>
                          </a:cxn>
                          <a:cxn ang="0">
                            <a:pos x="1188" y="174"/>
                          </a:cxn>
                          <a:cxn ang="0">
                            <a:pos x="1192" y="172"/>
                          </a:cxn>
                          <a:cxn ang="0">
                            <a:pos x="1190" y="174"/>
                          </a:cxn>
                          <a:cxn ang="0">
                            <a:pos x="1736" y="4"/>
                          </a:cxn>
                          <a:cxn ang="0">
                            <a:pos x="1734" y="0"/>
                          </a:cxn>
                          <a:cxn ang="0">
                            <a:pos x="1188" y="172"/>
                          </a:cxn>
                          <a:cxn ang="0">
                            <a:pos x="1024" y="202"/>
                          </a:cxn>
                        </a:cxnLst>
                        <a:rect l="0" t="0" r="r" b="b"/>
                        <a:pathLst>
                          <a:path w="1736" h="412">
                            <a:moveTo>
                              <a:pt x="1024" y="202"/>
                            </a:moveTo>
                            <a:lnTo>
                              <a:pt x="1022" y="206"/>
                            </a:lnTo>
                            <a:lnTo>
                              <a:pt x="1014" y="210"/>
                            </a:lnTo>
                            <a:lnTo>
                              <a:pt x="1018" y="204"/>
                            </a:lnTo>
                            <a:lnTo>
                              <a:pt x="756" y="258"/>
                            </a:lnTo>
                            <a:lnTo>
                              <a:pt x="476" y="304"/>
                            </a:lnTo>
                            <a:lnTo>
                              <a:pt x="454" y="308"/>
                            </a:lnTo>
                            <a:lnTo>
                              <a:pt x="454" y="402"/>
                            </a:lnTo>
                            <a:lnTo>
                              <a:pt x="374" y="408"/>
                            </a:lnTo>
                            <a:lnTo>
                              <a:pt x="390" y="360"/>
                            </a:lnTo>
                            <a:lnTo>
                              <a:pt x="0" y="368"/>
                            </a:lnTo>
                            <a:lnTo>
                              <a:pt x="0" y="372"/>
                            </a:lnTo>
                            <a:lnTo>
                              <a:pt x="384" y="364"/>
                            </a:lnTo>
                            <a:lnTo>
                              <a:pt x="366" y="412"/>
                            </a:lnTo>
                            <a:lnTo>
                              <a:pt x="450" y="406"/>
                            </a:lnTo>
                            <a:lnTo>
                              <a:pt x="450" y="404"/>
                            </a:lnTo>
                            <a:lnTo>
                              <a:pt x="454" y="404"/>
                            </a:lnTo>
                            <a:lnTo>
                              <a:pt x="454" y="406"/>
                            </a:lnTo>
                            <a:lnTo>
                              <a:pt x="456" y="406"/>
                            </a:lnTo>
                            <a:lnTo>
                              <a:pt x="456" y="310"/>
                            </a:lnTo>
                            <a:lnTo>
                              <a:pt x="478" y="310"/>
                            </a:lnTo>
                            <a:lnTo>
                              <a:pt x="756" y="264"/>
                            </a:lnTo>
                            <a:lnTo>
                              <a:pt x="1186" y="176"/>
                            </a:lnTo>
                            <a:lnTo>
                              <a:pt x="1186" y="176"/>
                            </a:lnTo>
                            <a:lnTo>
                              <a:pt x="1188" y="174"/>
                            </a:lnTo>
                            <a:lnTo>
                              <a:pt x="1192" y="172"/>
                            </a:lnTo>
                            <a:lnTo>
                              <a:pt x="1190" y="174"/>
                            </a:lnTo>
                            <a:lnTo>
                              <a:pt x="1736" y="4"/>
                            </a:lnTo>
                            <a:lnTo>
                              <a:pt x="1734" y="0"/>
                            </a:lnTo>
                            <a:lnTo>
                              <a:pt x="1188" y="172"/>
                            </a:lnTo>
                            <a:lnTo>
                              <a:pt x="1024" y="20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59" name="Freeform 2928"/>
                      <p:cNvSpPr>
                        <a:spLocks/>
                      </p:cNvSpPr>
                      <p:nvPr/>
                    </p:nvSpPr>
                    <p:spPr bwMode="auto">
                      <a:xfrm>
                        <a:off x="4528" y="2143"/>
                        <a:ext cx="6" cy="4"/>
                      </a:xfrm>
                      <a:custGeom>
                        <a:avLst/>
                        <a:gdLst/>
                        <a:ahLst/>
                        <a:cxnLst>
                          <a:cxn ang="0">
                            <a:pos x="6" y="0"/>
                          </a:cxn>
                          <a:cxn ang="0">
                            <a:pos x="2" y="2"/>
                          </a:cxn>
                          <a:cxn ang="0">
                            <a:pos x="0" y="4"/>
                          </a:cxn>
                          <a:cxn ang="0">
                            <a:pos x="4" y="2"/>
                          </a:cxn>
                          <a:cxn ang="0">
                            <a:pos x="6" y="0"/>
                          </a:cxn>
                        </a:cxnLst>
                        <a:rect l="0" t="0" r="r" b="b"/>
                        <a:pathLst>
                          <a:path w="6" h="4">
                            <a:moveTo>
                              <a:pt x="6" y="0"/>
                            </a:moveTo>
                            <a:lnTo>
                              <a:pt x="2" y="2"/>
                            </a:lnTo>
                            <a:lnTo>
                              <a:pt x="0" y="4"/>
                            </a:lnTo>
                            <a:lnTo>
                              <a:pt x="4" y="2"/>
                            </a:lnTo>
                            <a:lnTo>
                              <a:pt x="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0" name="Freeform 2929"/>
                      <p:cNvSpPr>
                        <a:spLocks/>
                      </p:cNvSpPr>
                      <p:nvPr/>
                    </p:nvSpPr>
                    <p:spPr bwMode="auto">
                      <a:xfrm>
                        <a:off x="4356" y="2173"/>
                        <a:ext cx="10" cy="8"/>
                      </a:xfrm>
                      <a:custGeom>
                        <a:avLst/>
                        <a:gdLst/>
                        <a:ahLst/>
                        <a:cxnLst>
                          <a:cxn ang="0">
                            <a:pos x="4" y="2"/>
                          </a:cxn>
                          <a:cxn ang="0">
                            <a:pos x="0" y="8"/>
                          </a:cxn>
                          <a:cxn ang="0">
                            <a:pos x="8" y="4"/>
                          </a:cxn>
                          <a:cxn ang="0">
                            <a:pos x="10" y="0"/>
                          </a:cxn>
                          <a:cxn ang="0">
                            <a:pos x="10" y="0"/>
                          </a:cxn>
                          <a:cxn ang="0">
                            <a:pos x="4" y="2"/>
                          </a:cxn>
                        </a:cxnLst>
                        <a:rect l="0" t="0" r="r" b="b"/>
                        <a:pathLst>
                          <a:path w="10" h="8">
                            <a:moveTo>
                              <a:pt x="4" y="2"/>
                            </a:moveTo>
                            <a:lnTo>
                              <a:pt x="0" y="8"/>
                            </a:lnTo>
                            <a:lnTo>
                              <a:pt x="8" y="4"/>
                            </a:lnTo>
                            <a:lnTo>
                              <a:pt x="10" y="0"/>
                            </a:lnTo>
                            <a:lnTo>
                              <a:pt x="10" y="0"/>
                            </a:lnTo>
                            <a:lnTo>
                              <a:pt x="4"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1" name="Rectangle 2930"/>
                      <p:cNvSpPr>
                        <a:spLocks noChangeArrowheads="1"/>
                      </p:cNvSpPr>
                      <p:nvPr/>
                    </p:nvSpPr>
                    <p:spPr bwMode="auto">
                      <a:xfrm>
                        <a:off x="3338" y="2339"/>
                        <a:ext cx="4" cy="4"/>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62" name="Freeform 2931"/>
                      <p:cNvSpPr>
                        <a:spLocks/>
                      </p:cNvSpPr>
                      <p:nvPr/>
                    </p:nvSpPr>
                    <p:spPr bwMode="auto">
                      <a:xfrm>
                        <a:off x="4880" y="2389"/>
                        <a:ext cx="4" cy="6"/>
                      </a:xfrm>
                      <a:custGeom>
                        <a:avLst/>
                        <a:gdLst/>
                        <a:ahLst/>
                        <a:cxnLst>
                          <a:cxn ang="0">
                            <a:pos x="2" y="6"/>
                          </a:cxn>
                          <a:cxn ang="0">
                            <a:pos x="4" y="0"/>
                          </a:cxn>
                          <a:cxn ang="0">
                            <a:pos x="2" y="0"/>
                          </a:cxn>
                          <a:cxn ang="0">
                            <a:pos x="0" y="6"/>
                          </a:cxn>
                          <a:cxn ang="0">
                            <a:pos x="2" y="6"/>
                          </a:cxn>
                        </a:cxnLst>
                        <a:rect l="0" t="0" r="r" b="b"/>
                        <a:pathLst>
                          <a:path w="4" h="6">
                            <a:moveTo>
                              <a:pt x="2" y="6"/>
                            </a:moveTo>
                            <a:lnTo>
                              <a:pt x="4" y="0"/>
                            </a:lnTo>
                            <a:lnTo>
                              <a:pt x="2" y="0"/>
                            </a:lnTo>
                            <a:lnTo>
                              <a:pt x="0" y="6"/>
                            </a:lnTo>
                            <a:lnTo>
                              <a:pt x="2"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3" name="Freeform 2932"/>
                      <p:cNvSpPr>
                        <a:spLocks/>
                      </p:cNvSpPr>
                      <p:nvPr/>
                    </p:nvSpPr>
                    <p:spPr bwMode="auto">
                      <a:xfrm>
                        <a:off x="3904" y="3041"/>
                        <a:ext cx="6" cy="4"/>
                      </a:xfrm>
                      <a:custGeom>
                        <a:avLst/>
                        <a:gdLst/>
                        <a:ahLst/>
                        <a:cxnLst>
                          <a:cxn ang="0">
                            <a:pos x="0" y="4"/>
                          </a:cxn>
                          <a:cxn ang="0">
                            <a:pos x="6" y="2"/>
                          </a:cxn>
                          <a:cxn ang="0">
                            <a:pos x="4" y="0"/>
                          </a:cxn>
                          <a:cxn ang="0">
                            <a:pos x="0" y="0"/>
                          </a:cxn>
                          <a:cxn ang="0">
                            <a:pos x="0" y="4"/>
                          </a:cxn>
                        </a:cxnLst>
                        <a:rect l="0" t="0" r="r" b="b"/>
                        <a:pathLst>
                          <a:path w="6" h="4">
                            <a:moveTo>
                              <a:pt x="0" y="4"/>
                            </a:moveTo>
                            <a:lnTo>
                              <a:pt x="6" y="2"/>
                            </a:lnTo>
                            <a:lnTo>
                              <a:pt x="4" y="0"/>
                            </a:lnTo>
                            <a:lnTo>
                              <a:pt x="0" y="0"/>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4" name="Freeform 2933"/>
                      <p:cNvSpPr>
                        <a:spLocks/>
                      </p:cNvSpPr>
                      <p:nvPr/>
                    </p:nvSpPr>
                    <p:spPr bwMode="auto">
                      <a:xfrm>
                        <a:off x="3418" y="2285"/>
                        <a:ext cx="1464" cy="756"/>
                      </a:xfrm>
                      <a:custGeom>
                        <a:avLst/>
                        <a:gdLst/>
                        <a:ahLst/>
                        <a:cxnLst>
                          <a:cxn ang="0">
                            <a:pos x="1250" y="34"/>
                          </a:cxn>
                          <a:cxn ang="0">
                            <a:pos x="1218" y="0"/>
                          </a:cxn>
                          <a:cxn ang="0">
                            <a:pos x="968" y="98"/>
                          </a:cxn>
                          <a:cxn ang="0">
                            <a:pos x="906" y="108"/>
                          </a:cxn>
                          <a:cxn ang="0">
                            <a:pos x="906" y="108"/>
                          </a:cxn>
                          <a:cxn ang="0">
                            <a:pos x="900" y="112"/>
                          </a:cxn>
                          <a:cxn ang="0">
                            <a:pos x="902" y="108"/>
                          </a:cxn>
                          <a:cxn ang="0">
                            <a:pos x="554" y="166"/>
                          </a:cxn>
                          <a:cxn ang="0">
                            <a:pos x="348" y="186"/>
                          </a:cxn>
                          <a:cxn ang="0">
                            <a:pos x="378" y="92"/>
                          </a:cxn>
                          <a:cxn ang="0">
                            <a:pos x="374" y="92"/>
                          </a:cxn>
                          <a:cxn ang="0">
                            <a:pos x="270" y="410"/>
                          </a:cxn>
                          <a:cxn ang="0">
                            <a:pos x="280" y="450"/>
                          </a:cxn>
                          <a:cxn ang="0">
                            <a:pos x="0" y="470"/>
                          </a:cxn>
                          <a:cxn ang="0">
                            <a:pos x="0" y="474"/>
                          </a:cxn>
                          <a:cxn ang="0">
                            <a:pos x="280" y="454"/>
                          </a:cxn>
                          <a:cxn ang="0">
                            <a:pos x="310" y="544"/>
                          </a:cxn>
                          <a:cxn ang="0">
                            <a:pos x="276" y="694"/>
                          </a:cxn>
                          <a:cxn ang="0">
                            <a:pos x="448" y="684"/>
                          </a:cxn>
                          <a:cxn ang="0">
                            <a:pos x="486" y="756"/>
                          </a:cxn>
                          <a:cxn ang="0">
                            <a:pos x="490" y="756"/>
                          </a:cxn>
                          <a:cxn ang="0">
                            <a:pos x="452" y="678"/>
                          </a:cxn>
                          <a:cxn ang="0">
                            <a:pos x="280" y="692"/>
                          </a:cxn>
                          <a:cxn ang="0">
                            <a:pos x="312" y="542"/>
                          </a:cxn>
                          <a:cxn ang="0">
                            <a:pos x="274" y="410"/>
                          </a:cxn>
                          <a:cxn ang="0">
                            <a:pos x="348" y="192"/>
                          </a:cxn>
                          <a:cxn ang="0">
                            <a:pos x="552" y="170"/>
                          </a:cxn>
                          <a:cxn ang="0">
                            <a:pos x="780" y="134"/>
                          </a:cxn>
                          <a:cxn ang="0">
                            <a:pos x="780" y="132"/>
                          </a:cxn>
                          <a:cxn ang="0">
                            <a:pos x="786" y="130"/>
                          </a:cxn>
                          <a:cxn ang="0">
                            <a:pos x="786" y="132"/>
                          </a:cxn>
                          <a:cxn ang="0">
                            <a:pos x="968" y="102"/>
                          </a:cxn>
                          <a:cxn ang="0">
                            <a:pos x="1218" y="6"/>
                          </a:cxn>
                          <a:cxn ang="0">
                            <a:pos x="1248" y="38"/>
                          </a:cxn>
                          <a:cxn ang="0">
                            <a:pos x="1330" y="22"/>
                          </a:cxn>
                          <a:cxn ang="0">
                            <a:pos x="1462" y="110"/>
                          </a:cxn>
                          <a:cxn ang="0">
                            <a:pos x="1464" y="104"/>
                          </a:cxn>
                          <a:cxn ang="0">
                            <a:pos x="1330" y="16"/>
                          </a:cxn>
                          <a:cxn ang="0">
                            <a:pos x="1250" y="34"/>
                          </a:cxn>
                        </a:cxnLst>
                        <a:rect l="0" t="0" r="r" b="b"/>
                        <a:pathLst>
                          <a:path w="1464" h="756">
                            <a:moveTo>
                              <a:pt x="1250" y="34"/>
                            </a:moveTo>
                            <a:lnTo>
                              <a:pt x="1218" y="0"/>
                            </a:lnTo>
                            <a:lnTo>
                              <a:pt x="968" y="98"/>
                            </a:lnTo>
                            <a:lnTo>
                              <a:pt x="906" y="108"/>
                            </a:lnTo>
                            <a:lnTo>
                              <a:pt x="906" y="108"/>
                            </a:lnTo>
                            <a:lnTo>
                              <a:pt x="900" y="112"/>
                            </a:lnTo>
                            <a:lnTo>
                              <a:pt x="902" y="108"/>
                            </a:lnTo>
                            <a:lnTo>
                              <a:pt x="554" y="166"/>
                            </a:lnTo>
                            <a:lnTo>
                              <a:pt x="348" y="186"/>
                            </a:lnTo>
                            <a:lnTo>
                              <a:pt x="378" y="92"/>
                            </a:lnTo>
                            <a:lnTo>
                              <a:pt x="374" y="92"/>
                            </a:lnTo>
                            <a:lnTo>
                              <a:pt x="270" y="410"/>
                            </a:lnTo>
                            <a:lnTo>
                              <a:pt x="280" y="450"/>
                            </a:lnTo>
                            <a:lnTo>
                              <a:pt x="0" y="470"/>
                            </a:lnTo>
                            <a:lnTo>
                              <a:pt x="0" y="474"/>
                            </a:lnTo>
                            <a:lnTo>
                              <a:pt x="280" y="454"/>
                            </a:lnTo>
                            <a:lnTo>
                              <a:pt x="310" y="544"/>
                            </a:lnTo>
                            <a:lnTo>
                              <a:pt x="276" y="694"/>
                            </a:lnTo>
                            <a:lnTo>
                              <a:pt x="448" y="684"/>
                            </a:lnTo>
                            <a:lnTo>
                              <a:pt x="486" y="756"/>
                            </a:lnTo>
                            <a:lnTo>
                              <a:pt x="490" y="756"/>
                            </a:lnTo>
                            <a:lnTo>
                              <a:pt x="452" y="678"/>
                            </a:lnTo>
                            <a:lnTo>
                              <a:pt x="280" y="692"/>
                            </a:lnTo>
                            <a:lnTo>
                              <a:pt x="312" y="542"/>
                            </a:lnTo>
                            <a:lnTo>
                              <a:pt x="274" y="410"/>
                            </a:lnTo>
                            <a:lnTo>
                              <a:pt x="348" y="192"/>
                            </a:lnTo>
                            <a:lnTo>
                              <a:pt x="552" y="170"/>
                            </a:lnTo>
                            <a:lnTo>
                              <a:pt x="780" y="134"/>
                            </a:lnTo>
                            <a:lnTo>
                              <a:pt x="780" y="132"/>
                            </a:lnTo>
                            <a:lnTo>
                              <a:pt x="786" y="130"/>
                            </a:lnTo>
                            <a:lnTo>
                              <a:pt x="786" y="132"/>
                            </a:lnTo>
                            <a:lnTo>
                              <a:pt x="968" y="102"/>
                            </a:lnTo>
                            <a:lnTo>
                              <a:pt x="1218" y="6"/>
                            </a:lnTo>
                            <a:lnTo>
                              <a:pt x="1248" y="38"/>
                            </a:lnTo>
                            <a:lnTo>
                              <a:pt x="1330" y="22"/>
                            </a:lnTo>
                            <a:lnTo>
                              <a:pt x="1462" y="110"/>
                            </a:lnTo>
                            <a:lnTo>
                              <a:pt x="1464" y="104"/>
                            </a:lnTo>
                            <a:lnTo>
                              <a:pt x="1330" y="16"/>
                            </a:lnTo>
                            <a:lnTo>
                              <a:pt x="1250" y="3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5" name="Rectangle 2934"/>
                      <p:cNvSpPr>
                        <a:spLocks noChangeArrowheads="1"/>
                      </p:cNvSpPr>
                      <p:nvPr/>
                    </p:nvSpPr>
                    <p:spPr bwMode="auto">
                      <a:xfrm>
                        <a:off x="3410" y="2759"/>
                        <a:ext cx="1"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66" name="Freeform 2935"/>
                      <p:cNvSpPr>
                        <a:spLocks/>
                      </p:cNvSpPr>
                      <p:nvPr/>
                    </p:nvSpPr>
                    <p:spPr bwMode="auto">
                      <a:xfrm>
                        <a:off x="4318" y="2393"/>
                        <a:ext cx="6" cy="4"/>
                      </a:xfrm>
                      <a:custGeom>
                        <a:avLst/>
                        <a:gdLst/>
                        <a:ahLst/>
                        <a:cxnLst>
                          <a:cxn ang="0">
                            <a:pos x="0" y="4"/>
                          </a:cxn>
                          <a:cxn ang="0">
                            <a:pos x="6" y="0"/>
                          </a:cxn>
                          <a:cxn ang="0">
                            <a:pos x="6" y="0"/>
                          </a:cxn>
                          <a:cxn ang="0">
                            <a:pos x="2" y="0"/>
                          </a:cxn>
                          <a:cxn ang="0">
                            <a:pos x="0" y="4"/>
                          </a:cxn>
                        </a:cxnLst>
                        <a:rect l="0" t="0" r="r" b="b"/>
                        <a:pathLst>
                          <a:path w="6" h="4">
                            <a:moveTo>
                              <a:pt x="0" y="4"/>
                            </a:moveTo>
                            <a:lnTo>
                              <a:pt x="6" y="0"/>
                            </a:lnTo>
                            <a:lnTo>
                              <a:pt x="6" y="0"/>
                            </a:lnTo>
                            <a:lnTo>
                              <a:pt x="2" y="0"/>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7" name="Freeform 2936"/>
                      <p:cNvSpPr>
                        <a:spLocks/>
                      </p:cNvSpPr>
                      <p:nvPr/>
                    </p:nvSpPr>
                    <p:spPr bwMode="auto">
                      <a:xfrm>
                        <a:off x="3410" y="2755"/>
                        <a:ext cx="8" cy="4"/>
                      </a:xfrm>
                      <a:custGeom>
                        <a:avLst/>
                        <a:gdLst/>
                        <a:ahLst/>
                        <a:cxnLst>
                          <a:cxn ang="0">
                            <a:pos x="0" y="4"/>
                          </a:cxn>
                          <a:cxn ang="0">
                            <a:pos x="0" y="4"/>
                          </a:cxn>
                          <a:cxn ang="0">
                            <a:pos x="8" y="4"/>
                          </a:cxn>
                          <a:cxn ang="0">
                            <a:pos x="8" y="0"/>
                          </a:cxn>
                          <a:cxn ang="0">
                            <a:pos x="0" y="0"/>
                          </a:cxn>
                          <a:cxn ang="0">
                            <a:pos x="0" y="4"/>
                          </a:cxn>
                        </a:cxnLst>
                        <a:rect l="0" t="0" r="r" b="b"/>
                        <a:pathLst>
                          <a:path w="8" h="4">
                            <a:moveTo>
                              <a:pt x="0" y="4"/>
                            </a:moveTo>
                            <a:lnTo>
                              <a:pt x="0" y="4"/>
                            </a:lnTo>
                            <a:lnTo>
                              <a:pt x="8" y="4"/>
                            </a:lnTo>
                            <a:lnTo>
                              <a:pt x="8" y="0"/>
                            </a:lnTo>
                            <a:lnTo>
                              <a:pt x="0" y="0"/>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68" name="Rectangle 2937"/>
                      <p:cNvSpPr>
                        <a:spLocks noChangeArrowheads="1"/>
                      </p:cNvSpPr>
                      <p:nvPr/>
                    </p:nvSpPr>
                    <p:spPr bwMode="auto">
                      <a:xfrm>
                        <a:off x="3792" y="2375"/>
                        <a:ext cx="4" cy="2"/>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69" name="Freeform 2938"/>
                      <p:cNvSpPr>
                        <a:spLocks/>
                      </p:cNvSpPr>
                      <p:nvPr/>
                    </p:nvSpPr>
                    <p:spPr bwMode="auto">
                      <a:xfrm>
                        <a:off x="4106" y="2997"/>
                        <a:ext cx="6" cy="4"/>
                      </a:xfrm>
                      <a:custGeom>
                        <a:avLst/>
                        <a:gdLst/>
                        <a:ahLst/>
                        <a:cxnLst>
                          <a:cxn ang="0">
                            <a:pos x="0" y="4"/>
                          </a:cxn>
                          <a:cxn ang="0">
                            <a:pos x="6" y="4"/>
                          </a:cxn>
                          <a:cxn ang="0">
                            <a:pos x="4" y="0"/>
                          </a:cxn>
                          <a:cxn ang="0">
                            <a:pos x="0" y="2"/>
                          </a:cxn>
                          <a:cxn ang="0">
                            <a:pos x="0" y="4"/>
                          </a:cxn>
                        </a:cxnLst>
                        <a:rect l="0" t="0" r="r" b="b"/>
                        <a:pathLst>
                          <a:path w="6" h="4">
                            <a:moveTo>
                              <a:pt x="0" y="4"/>
                            </a:moveTo>
                            <a:lnTo>
                              <a:pt x="6" y="4"/>
                            </a:lnTo>
                            <a:lnTo>
                              <a:pt x="4" y="0"/>
                            </a:lnTo>
                            <a:lnTo>
                              <a:pt x="0" y="2"/>
                            </a:lnTo>
                            <a:lnTo>
                              <a:pt x="0"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0" name="Freeform 2939"/>
                      <p:cNvSpPr>
                        <a:spLocks/>
                      </p:cNvSpPr>
                      <p:nvPr/>
                    </p:nvSpPr>
                    <p:spPr bwMode="auto">
                      <a:xfrm>
                        <a:off x="4062" y="2417"/>
                        <a:ext cx="668" cy="582"/>
                      </a:xfrm>
                      <a:custGeom>
                        <a:avLst/>
                        <a:gdLst/>
                        <a:ahLst/>
                        <a:cxnLst>
                          <a:cxn ang="0">
                            <a:pos x="278" y="474"/>
                          </a:cxn>
                          <a:cxn ang="0">
                            <a:pos x="280" y="486"/>
                          </a:cxn>
                          <a:cxn ang="0">
                            <a:pos x="302" y="516"/>
                          </a:cxn>
                          <a:cxn ang="0">
                            <a:pos x="562" y="474"/>
                          </a:cxn>
                          <a:cxn ang="0">
                            <a:pos x="604" y="488"/>
                          </a:cxn>
                          <a:cxn ang="0">
                            <a:pos x="604" y="438"/>
                          </a:cxn>
                          <a:cxn ang="0">
                            <a:pos x="668" y="438"/>
                          </a:cxn>
                          <a:cxn ang="0">
                            <a:pos x="668" y="430"/>
                          </a:cxn>
                          <a:cxn ang="0">
                            <a:pos x="598" y="432"/>
                          </a:cxn>
                          <a:cxn ang="0">
                            <a:pos x="598" y="480"/>
                          </a:cxn>
                          <a:cxn ang="0">
                            <a:pos x="564" y="468"/>
                          </a:cxn>
                          <a:cxn ang="0">
                            <a:pos x="302" y="510"/>
                          </a:cxn>
                          <a:cxn ang="0">
                            <a:pos x="284" y="486"/>
                          </a:cxn>
                          <a:cxn ang="0">
                            <a:pos x="262" y="330"/>
                          </a:cxn>
                          <a:cxn ang="0">
                            <a:pos x="142" y="0"/>
                          </a:cxn>
                          <a:cxn ang="0">
                            <a:pos x="136" y="2"/>
                          </a:cxn>
                          <a:cxn ang="0">
                            <a:pos x="260" y="332"/>
                          </a:cxn>
                          <a:cxn ang="0">
                            <a:pos x="278" y="468"/>
                          </a:cxn>
                          <a:cxn ang="0">
                            <a:pos x="0" y="492"/>
                          </a:cxn>
                          <a:cxn ang="0">
                            <a:pos x="44" y="582"/>
                          </a:cxn>
                          <a:cxn ang="0">
                            <a:pos x="48" y="580"/>
                          </a:cxn>
                          <a:cxn ang="0">
                            <a:pos x="4" y="494"/>
                          </a:cxn>
                          <a:cxn ang="0">
                            <a:pos x="278" y="474"/>
                          </a:cxn>
                        </a:cxnLst>
                        <a:rect l="0" t="0" r="r" b="b"/>
                        <a:pathLst>
                          <a:path w="668" h="582">
                            <a:moveTo>
                              <a:pt x="278" y="474"/>
                            </a:moveTo>
                            <a:lnTo>
                              <a:pt x="280" y="486"/>
                            </a:lnTo>
                            <a:lnTo>
                              <a:pt x="302" y="516"/>
                            </a:lnTo>
                            <a:lnTo>
                              <a:pt x="562" y="474"/>
                            </a:lnTo>
                            <a:lnTo>
                              <a:pt x="604" y="488"/>
                            </a:lnTo>
                            <a:lnTo>
                              <a:pt x="604" y="438"/>
                            </a:lnTo>
                            <a:lnTo>
                              <a:pt x="668" y="438"/>
                            </a:lnTo>
                            <a:lnTo>
                              <a:pt x="668" y="430"/>
                            </a:lnTo>
                            <a:lnTo>
                              <a:pt x="598" y="432"/>
                            </a:lnTo>
                            <a:lnTo>
                              <a:pt x="598" y="480"/>
                            </a:lnTo>
                            <a:lnTo>
                              <a:pt x="564" y="468"/>
                            </a:lnTo>
                            <a:lnTo>
                              <a:pt x="302" y="510"/>
                            </a:lnTo>
                            <a:lnTo>
                              <a:pt x="284" y="486"/>
                            </a:lnTo>
                            <a:lnTo>
                              <a:pt x="262" y="330"/>
                            </a:lnTo>
                            <a:lnTo>
                              <a:pt x="142" y="0"/>
                            </a:lnTo>
                            <a:lnTo>
                              <a:pt x="136" y="2"/>
                            </a:lnTo>
                            <a:lnTo>
                              <a:pt x="260" y="332"/>
                            </a:lnTo>
                            <a:lnTo>
                              <a:pt x="278" y="468"/>
                            </a:lnTo>
                            <a:lnTo>
                              <a:pt x="0" y="492"/>
                            </a:lnTo>
                            <a:lnTo>
                              <a:pt x="44" y="582"/>
                            </a:lnTo>
                            <a:lnTo>
                              <a:pt x="48" y="580"/>
                            </a:lnTo>
                            <a:lnTo>
                              <a:pt x="4" y="494"/>
                            </a:lnTo>
                            <a:lnTo>
                              <a:pt x="278" y="47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1" name="Freeform 2940"/>
                      <p:cNvSpPr>
                        <a:spLocks/>
                      </p:cNvSpPr>
                      <p:nvPr/>
                    </p:nvSpPr>
                    <p:spPr bwMode="auto">
                      <a:xfrm>
                        <a:off x="4198" y="2415"/>
                        <a:ext cx="6" cy="4"/>
                      </a:xfrm>
                      <a:custGeom>
                        <a:avLst/>
                        <a:gdLst/>
                        <a:ahLst/>
                        <a:cxnLst>
                          <a:cxn ang="0">
                            <a:pos x="6" y="0"/>
                          </a:cxn>
                          <a:cxn ang="0">
                            <a:pos x="0" y="2"/>
                          </a:cxn>
                          <a:cxn ang="0">
                            <a:pos x="0" y="4"/>
                          </a:cxn>
                          <a:cxn ang="0">
                            <a:pos x="6" y="2"/>
                          </a:cxn>
                          <a:cxn ang="0">
                            <a:pos x="6" y="0"/>
                          </a:cxn>
                        </a:cxnLst>
                        <a:rect l="0" t="0" r="r" b="b"/>
                        <a:pathLst>
                          <a:path w="6" h="4">
                            <a:moveTo>
                              <a:pt x="6" y="0"/>
                            </a:moveTo>
                            <a:lnTo>
                              <a:pt x="0" y="2"/>
                            </a:lnTo>
                            <a:lnTo>
                              <a:pt x="0" y="4"/>
                            </a:lnTo>
                            <a:lnTo>
                              <a:pt x="6" y="2"/>
                            </a:lnTo>
                            <a:lnTo>
                              <a:pt x="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2" name="Freeform 2941"/>
                      <p:cNvSpPr>
                        <a:spLocks/>
                      </p:cNvSpPr>
                      <p:nvPr/>
                    </p:nvSpPr>
                    <p:spPr bwMode="auto">
                      <a:xfrm>
                        <a:off x="4750" y="2669"/>
                        <a:ext cx="4" cy="6"/>
                      </a:xfrm>
                      <a:custGeom>
                        <a:avLst/>
                        <a:gdLst/>
                        <a:ahLst/>
                        <a:cxnLst>
                          <a:cxn ang="0">
                            <a:pos x="2" y="6"/>
                          </a:cxn>
                          <a:cxn ang="0">
                            <a:pos x="4" y="2"/>
                          </a:cxn>
                          <a:cxn ang="0">
                            <a:pos x="2" y="0"/>
                          </a:cxn>
                          <a:cxn ang="0">
                            <a:pos x="0" y="2"/>
                          </a:cxn>
                          <a:cxn ang="0">
                            <a:pos x="2" y="6"/>
                          </a:cxn>
                        </a:cxnLst>
                        <a:rect l="0" t="0" r="r" b="b"/>
                        <a:pathLst>
                          <a:path w="4" h="6">
                            <a:moveTo>
                              <a:pt x="2" y="6"/>
                            </a:moveTo>
                            <a:lnTo>
                              <a:pt x="4" y="2"/>
                            </a:lnTo>
                            <a:lnTo>
                              <a:pt x="2" y="0"/>
                            </a:lnTo>
                            <a:lnTo>
                              <a:pt x="0" y="2"/>
                            </a:lnTo>
                            <a:lnTo>
                              <a:pt x="2"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3" name="Freeform 2942"/>
                      <p:cNvSpPr>
                        <a:spLocks/>
                      </p:cNvSpPr>
                      <p:nvPr/>
                    </p:nvSpPr>
                    <p:spPr bwMode="auto">
                      <a:xfrm>
                        <a:off x="4436" y="2359"/>
                        <a:ext cx="316" cy="312"/>
                      </a:xfrm>
                      <a:custGeom>
                        <a:avLst/>
                        <a:gdLst/>
                        <a:ahLst/>
                        <a:cxnLst>
                          <a:cxn ang="0">
                            <a:pos x="54" y="50"/>
                          </a:cxn>
                          <a:cxn ang="0">
                            <a:pos x="6" y="54"/>
                          </a:cxn>
                          <a:cxn ang="0">
                            <a:pos x="28" y="0"/>
                          </a:cxn>
                          <a:cxn ang="0">
                            <a:pos x="22" y="2"/>
                          </a:cxn>
                          <a:cxn ang="0">
                            <a:pos x="0" y="56"/>
                          </a:cxn>
                          <a:cxn ang="0">
                            <a:pos x="52" y="54"/>
                          </a:cxn>
                          <a:cxn ang="0">
                            <a:pos x="52" y="88"/>
                          </a:cxn>
                          <a:cxn ang="0">
                            <a:pos x="314" y="312"/>
                          </a:cxn>
                          <a:cxn ang="0">
                            <a:pos x="316" y="310"/>
                          </a:cxn>
                          <a:cxn ang="0">
                            <a:pos x="54" y="86"/>
                          </a:cxn>
                          <a:cxn ang="0">
                            <a:pos x="54" y="50"/>
                          </a:cxn>
                        </a:cxnLst>
                        <a:rect l="0" t="0" r="r" b="b"/>
                        <a:pathLst>
                          <a:path w="316" h="312">
                            <a:moveTo>
                              <a:pt x="54" y="50"/>
                            </a:moveTo>
                            <a:lnTo>
                              <a:pt x="6" y="54"/>
                            </a:lnTo>
                            <a:lnTo>
                              <a:pt x="28" y="0"/>
                            </a:lnTo>
                            <a:lnTo>
                              <a:pt x="22" y="2"/>
                            </a:lnTo>
                            <a:lnTo>
                              <a:pt x="0" y="56"/>
                            </a:lnTo>
                            <a:lnTo>
                              <a:pt x="52" y="54"/>
                            </a:lnTo>
                            <a:lnTo>
                              <a:pt x="52" y="88"/>
                            </a:lnTo>
                            <a:lnTo>
                              <a:pt x="314" y="312"/>
                            </a:lnTo>
                            <a:lnTo>
                              <a:pt x="316" y="310"/>
                            </a:lnTo>
                            <a:lnTo>
                              <a:pt x="54" y="86"/>
                            </a:lnTo>
                            <a:lnTo>
                              <a:pt x="54" y="5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4" name="Freeform 2943"/>
                      <p:cNvSpPr>
                        <a:spLocks/>
                      </p:cNvSpPr>
                      <p:nvPr/>
                    </p:nvSpPr>
                    <p:spPr bwMode="auto">
                      <a:xfrm>
                        <a:off x="4258" y="1551"/>
                        <a:ext cx="12" cy="4"/>
                      </a:xfrm>
                      <a:custGeom>
                        <a:avLst/>
                        <a:gdLst/>
                        <a:ahLst/>
                        <a:cxnLst>
                          <a:cxn ang="0">
                            <a:pos x="12" y="2"/>
                          </a:cxn>
                          <a:cxn ang="0">
                            <a:pos x="6" y="0"/>
                          </a:cxn>
                          <a:cxn ang="0">
                            <a:pos x="0" y="2"/>
                          </a:cxn>
                          <a:cxn ang="0">
                            <a:pos x="6" y="4"/>
                          </a:cxn>
                          <a:cxn ang="0">
                            <a:pos x="12" y="2"/>
                          </a:cxn>
                        </a:cxnLst>
                        <a:rect l="0" t="0" r="r" b="b"/>
                        <a:pathLst>
                          <a:path w="12" h="4">
                            <a:moveTo>
                              <a:pt x="12" y="2"/>
                            </a:moveTo>
                            <a:lnTo>
                              <a:pt x="6" y="0"/>
                            </a:lnTo>
                            <a:lnTo>
                              <a:pt x="0" y="2"/>
                            </a:lnTo>
                            <a:lnTo>
                              <a:pt x="6" y="4"/>
                            </a:lnTo>
                            <a:lnTo>
                              <a:pt x="12"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5" name="Freeform 2944"/>
                      <p:cNvSpPr>
                        <a:spLocks/>
                      </p:cNvSpPr>
                      <p:nvPr/>
                    </p:nvSpPr>
                    <p:spPr bwMode="auto">
                      <a:xfrm>
                        <a:off x="3924" y="1599"/>
                        <a:ext cx="8" cy="6"/>
                      </a:xfrm>
                      <a:custGeom>
                        <a:avLst/>
                        <a:gdLst/>
                        <a:ahLst/>
                        <a:cxnLst>
                          <a:cxn ang="0">
                            <a:pos x="6" y="0"/>
                          </a:cxn>
                          <a:cxn ang="0">
                            <a:pos x="0" y="6"/>
                          </a:cxn>
                          <a:cxn ang="0">
                            <a:pos x="2" y="6"/>
                          </a:cxn>
                          <a:cxn ang="0">
                            <a:pos x="8" y="0"/>
                          </a:cxn>
                          <a:cxn ang="0">
                            <a:pos x="6" y="0"/>
                          </a:cxn>
                        </a:cxnLst>
                        <a:rect l="0" t="0" r="r" b="b"/>
                        <a:pathLst>
                          <a:path w="8" h="6">
                            <a:moveTo>
                              <a:pt x="6" y="0"/>
                            </a:moveTo>
                            <a:lnTo>
                              <a:pt x="0" y="6"/>
                            </a:lnTo>
                            <a:lnTo>
                              <a:pt x="2" y="6"/>
                            </a:lnTo>
                            <a:lnTo>
                              <a:pt x="8" y="0"/>
                            </a:lnTo>
                            <a:lnTo>
                              <a:pt x="6"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6" name="Freeform 2945"/>
                      <p:cNvSpPr>
                        <a:spLocks/>
                      </p:cNvSpPr>
                      <p:nvPr/>
                    </p:nvSpPr>
                    <p:spPr bwMode="auto">
                      <a:xfrm>
                        <a:off x="3926" y="1553"/>
                        <a:ext cx="338" cy="342"/>
                      </a:xfrm>
                      <a:custGeom>
                        <a:avLst/>
                        <a:gdLst/>
                        <a:ahLst/>
                        <a:cxnLst>
                          <a:cxn ang="0">
                            <a:pos x="258" y="342"/>
                          </a:cxn>
                          <a:cxn ang="0">
                            <a:pos x="258" y="340"/>
                          </a:cxn>
                          <a:cxn ang="0">
                            <a:pos x="262" y="340"/>
                          </a:cxn>
                          <a:cxn ang="0">
                            <a:pos x="196" y="46"/>
                          </a:cxn>
                          <a:cxn ang="0">
                            <a:pos x="338" y="2"/>
                          </a:cxn>
                          <a:cxn ang="0">
                            <a:pos x="332" y="0"/>
                          </a:cxn>
                          <a:cxn ang="0">
                            <a:pos x="194" y="42"/>
                          </a:cxn>
                          <a:cxn ang="0">
                            <a:pos x="6" y="46"/>
                          </a:cxn>
                          <a:cxn ang="0">
                            <a:pos x="0" y="52"/>
                          </a:cxn>
                          <a:cxn ang="0">
                            <a:pos x="190" y="46"/>
                          </a:cxn>
                          <a:cxn ang="0">
                            <a:pos x="258" y="342"/>
                          </a:cxn>
                        </a:cxnLst>
                        <a:rect l="0" t="0" r="r" b="b"/>
                        <a:pathLst>
                          <a:path w="338" h="342">
                            <a:moveTo>
                              <a:pt x="258" y="342"/>
                            </a:moveTo>
                            <a:lnTo>
                              <a:pt x="258" y="340"/>
                            </a:lnTo>
                            <a:lnTo>
                              <a:pt x="262" y="340"/>
                            </a:lnTo>
                            <a:lnTo>
                              <a:pt x="196" y="46"/>
                            </a:lnTo>
                            <a:lnTo>
                              <a:pt x="338" y="2"/>
                            </a:lnTo>
                            <a:lnTo>
                              <a:pt x="332" y="0"/>
                            </a:lnTo>
                            <a:lnTo>
                              <a:pt x="194" y="42"/>
                            </a:lnTo>
                            <a:lnTo>
                              <a:pt x="6" y="46"/>
                            </a:lnTo>
                            <a:lnTo>
                              <a:pt x="0" y="52"/>
                            </a:lnTo>
                            <a:lnTo>
                              <a:pt x="190" y="46"/>
                            </a:lnTo>
                            <a:lnTo>
                              <a:pt x="258" y="3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7" name="Freeform 2946"/>
                      <p:cNvSpPr>
                        <a:spLocks/>
                      </p:cNvSpPr>
                      <p:nvPr/>
                    </p:nvSpPr>
                    <p:spPr bwMode="auto">
                      <a:xfrm>
                        <a:off x="3914" y="1897"/>
                        <a:ext cx="278" cy="234"/>
                      </a:xfrm>
                      <a:custGeom>
                        <a:avLst/>
                        <a:gdLst/>
                        <a:ahLst/>
                        <a:cxnLst>
                          <a:cxn ang="0">
                            <a:pos x="274" y="12"/>
                          </a:cxn>
                          <a:cxn ang="0">
                            <a:pos x="236" y="52"/>
                          </a:cxn>
                          <a:cxn ang="0">
                            <a:pos x="186" y="160"/>
                          </a:cxn>
                          <a:cxn ang="0">
                            <a:pos x="158" y="146"/>
                          </a:cxn>
                          <a:cxn ang="0">
                            <a:pos x="78" y="200"/>
                          </a:cxn>
                          <a:cxn ang="0">
                            <a:pos x="54" y="186"/>
                          </a:cxn>
                          <a:cxn ang="0">
                            <a:pos x="0" y="230"/>
                          </a:cxn>
                          <a:cxn ang="0">
                            <a:pos x="0" y="234"/>
                          </a:cxn>
                          <a:cxn ang="0">
                            <a:pos x="54" y="190"/>
                          </a:cxn>
                          <a:cxn ang="0">
                            <a:pos x="78" y="206"/>
                          </a:cxn>
                          <a:cxn ang="0">
                            <a:pos x="158" y="150"/>
                          </a:cxn>
                          <a:cxn ang="0">
                            <a:pos x="188" y="164"/>
                          </a:cxn>
                          <a:cxn ang="0">
                            <a:pos x="238" y="54"/>
                          </a:cxn>
                          <a:cxn ang="0">
                            <a:pos x="278" y="14"/>
                          </a:cxn>
                          <a:cxn ang="0">
                            <a:pos x="274" y="2"/>
                          </a:cxn>
                          <a:cxn ang="0">
                            <a:pos x="270" y="0"/>
                          </a:cxn>
                          <a:cxn ang="0">
                            <a:pos x="274" y="12"/>
                          </a:cxn>
                        </a:cxnLst>
                        <a:rect l="0" t="0" r="r" b="b"/>
                        <a:pathLst>
                          <a:path w="278" h="234">
                            <a:moveTo>
                              <a:pt x="274" y="12"/>
                            </a:moveTo>
                            <a:lnTo>
                              <a:pt x="236" y="52"/>
                            </a:lnTo>
                            <a:lnTo>
                              <a:pt x="186" y="160"/>
                            </a:lnTo>
                            <a:lnTo>
                              <a:pt x="158" y="146"/>
                            </a:lnTo>
                            <a:lnTo>
                              <a:pt x="78" y="200"/>
                            </a:lnTo>
                            <a:lnTo>
                              <a:pt x="54" y="186"/>
                            </a:lnTo>
                            <a:lnTo>
                              <a:pt x="0" y="230"/>
                            </a:lnTo>
                            <a:lnTo>
                              <a:pt x="0" y="234"/>
                            </a:lnTo>
                            <a:lnTo>
                              <a:pt x="54" y="190"/>
                            </a:lnTo>
                            <a:lnTo>
                              <a:pt x="78" y="206"/>
                            </a:lnTo>
                            <a:lnTo>
                              <a:pt x="158" y="150"/>
                            </a:lnTo>
                            <a:lnTo>
                              <a:pt x="188" y="164"/>
                            </a:lnTo>
                            <a:lnTo>
                              <a:pt x="238" y="54"/>
                            </a:lnTo>
                            <a:lnTo>
                              <a:pt x="278" y="14"/>
                            </a:lnTo>
                            <a:lnTo>
                              <a:pt x="274" y="2"/>
                            </a:lnTo>
                            <a:lnTo>
                              <a:pt x="270" y="0"/>
                            </a:lnTo>
                            <a:lnTo>
                              <a:pt x="274" y="1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8" name="Freeform 2947"/>
                      <p:cNvSpPr>
                        <a:spLocks/>
                      </p:cNvSpPr>
                      <p:nvPr/>
                    </p:nvSpPr>
                    <p:spPr bwMode="auto">
                      <a:xfrm>
                        <a:off x="4808" y="1695"/>
                        <a:ext cx="2" cy="2"/>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79" name="Freeform 2948"/>
                      <p:cNvSpPr>
                        <a:spLocks/>
                      </p:cNvSpPr>
                      <p:nvPr/>
                    </p:nvSpPr>
                    <p:spPr bwMode="auto">
                      <a:xfrm>
                        <a:off x="4184" y="1895"/>
                        <a:ext cx="1" cy="2"/>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0" name="Freeform 2949"/>
                      <p:cNvSpPr>
                        <a:spLocks/>
                      </p:cNvSpPr>
                      <p:nvPr/>
                    </p:nvSpPr>
                    <p:spPr bwMode="auto">
                      <a:xfrm>
                        <a:off x="4188" y="1469"/>
                        <a:ext cx="336" cy="534"/>
                      </a:xfrm>
                      <a:custGeom>
                        <a:avLst/>
                        <a:gdLst/>
                        <a:ahLst/>
                        <a:cxnLst>
                          <a:cxn ang="0">
                            <a:pos x="106" y="466"/>
                          </a:cxn>
                          <a:cxn ang="0">
                            <a:pos x="196" y="454"/>
                          </a:cxn>
                          <a:cxn ang="0">
                            <a:pos x="220" y="470"/>
                          </a:cxn>
                          <a:cxn ang="0">
                            <a:pos x="234" y="512"/>
                          </a:cxn>
                          <a:cxn ang="0">
                            <a:pos x="286" y="534"/>
                          </a:cxn>
                          <a:cxn ang="0">
                            <a:pos x="288" y="532"/>
                          </a:cxn>
                          <a:cxn ang="0">
                            <a:pos x="236" y="510"/>
                          </a:cxn>
                          <a:cxn ang="0">
                            <a:pos x="226" y="474"/>
                          </a:cxn>
                          <a:cxn ang="0">
                            <a:pos x="232" y="480"/>
                          </a:cxn>
                          <a:cxn ang="0">
                            <a:pos x="290" y="348"/>
                          </a:cxn>
                          <a:cxn ang="0">
                            <a:pos x="324" y="288"/>
                          </a:cxn>
                          <a:cxn ang="0">
                            <a:pos x="334" y="210"/>
                          </a:cxn>
                          <a:cxn ang="0">
                            <a:pos x="334" y="208"/>
                          </a:cxn>
                          <a:cxn ang="0">
                            <a:pos x="334" y="208"/>
                          </a:cxn>
                          <a:cxn ang="0">
                            <a:pos x="336" y="200"/>
                          </a:cxn>
                          <a:cxn ang="0">
                            <a:pos x="262" y="0"/>
                          </a:cxn>
                          <a:cxn ang="0">
                            <a:pos x="260" y="6"/>
                          </a:cxn>
                          <a:cxn ang="0">
                            <a:pos x="330" y="202"/>
                          </a:cxn>
                          <a:cxn ang="0">
                            <a:pos x="320" y="286"/>
                          </a:cxn>
                          <a:cxn ang="0">
                            <a:pos x="288" y="346"/>
                          </a:cxn>
                          <a:cxn ang="0">
                            <a:pos x="232" y="470"/>
                          </a:cxn>
                          <a:cxn ang="0">
                            <a:pos x="198" y="450"/>
                          </a:cxn>
                          <a:cxn ang="0">
                            <a:pos x="106" y="462"/>
                          </a:cxn>
                          <a:cxn ang="0">
                            <a:pos x="0" y="424"/>
                          </a:cxn>
                          <a:cxn ang="0">
                            <a:pos x="0" y="430"/>
                          </a:cxn>
                          <a:cxn ang="0">
                            <a:pos x="106" y="466"/>
                          </a:cxn>
                        </a:cxnLst>
                        <a:rect l="0" t="0" r="r" b="b"/>
                        <a:pathLst>
                          <a:path w="336" h="534">
                            <a:moveTo>
                              <a:pt x="106" y="466"/>
                            </a:moveTo>
                            <a:lnTo>
                              <a:pt x="196" y="454"/>
                            </a:lnTo>
                            <a:lnTo>
                              <a:pt x="220" y="470"/>
                            </a:lnTo>
                            <a:lnTo>
                              <a:pt x="234" y="512"/>
                            </a:lnTo>
                            <a:lnTo>
                              <a:pt x="286" y="534"/>
                            </a:lnTo>
                            <a:lnTo>
                              <a:pt x="288" y="532"/>
                            </a:lnTo>
                            <a:lnTo>
                              <a:pt x="236" y="510"/>
                            </a:lnTo>
                            <a:lnTo>
                              <a:pt x="226" y="474"/>
                            </a:lnTo>
                            <a:lnTo>
                              <a:pt x="232" y="480"/>
                            </a:lnTo>
                            <a:lnTo>
                              <a:pt x="290" y="348"/>
                            </a:lnTo>
                            <a:lnTo>
                              <a:pt x="324" y="288"/>
                            </a:lnTo>
                            <a:lnTo>
                              <a:pt x="334" y="210"/>
                            </a:lnTo>
                            <a:lnTo>
                              <a:pt x="334" y="208"/>
                            </a:lnTo>
                            <a:lnTo>
                              <a:pt x="334" y="208"/>
                            </a:lnTo>
                            <a:lnTo>
                              <a:pt x="336" y="200"/>
                            </a:lnTo>
                            <a:lnTo>
                              <a:pt x="262" y="0"/>
                            </a:lnTo>
                            <a:lnTo>
                              <a:pt x="260" y="6"/>
                            </a:lnTo>
                            <a:lnTo>
                              <a:pt x="330" y="202"/>
                            </a:lnTo>
                            <a:lnTo>
                              <a:pt x="320" y="286"/>
                            </a:lnTo>
                            <a:lnTo>
                              <a:pt x="288" y="346"/>
                            </a:lnTo>
                            <a:lnTo>
                              <a:pt x="232" y="470"/>
                            </a:lnTo>
                            <a:lnTo>
                              <a:pt x="198" y="450"/>
                            </a:lnTo>
                            <a:lnTo>
                              <a:pt x="106" y="462"/>
                            </a:lnTo>
                            <a:lnTo>
                              <a:pt x="0" y="424"/>
                            </a:lnTo>
                            <a:lnTo>
                              <a:pt x="0" y="430"/>
                            </a:lnTo>
                            <a:lnTo>
                              <a:pt x="106" y="46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1" name="Freeform 2950"/>
                      <p:cNvSpPr>
                        <a:spLocks/>
                      </p:cNvSpPr>
                      <p:nvPr/>
                    </p:nvSpPr>
                    <p:spPr bwMode="auto">
                      <a:xfrm>
                        <a:off x="4478" y="1699"/>
                        <a:ext cx="330" cy="340"/>
                      </a:xfrm>
                      <a:custGeom>
                        <a:avLst/>
                        <a:gdLst/>
                        <a:ahLst/>
                        <a:cxnLst>
                          <a:cxn ang="0">
                            <a:pos x="328" y="0"/>
                          </a:cxn>
                          <a:cxn ang="0">
                            <a:pos x="312" y="22"/>
                          </a:cxn>
                          <a:cxn ang="0">
                            <a:pos x="272" y="22"/>
                          </a:cxn>
                          <a:cxn ang="0">
                            <a:pos x="230" y="84"/>
                          </a:cxn>
                          <a:cxn ang="0">
                            <a:pos x="202" y="154"/>
                          </a:cxn>
                          <a:cxn ang="0">
                            <a:pos x="172" y="130"/>
                          </a:cxn>
                          <a:cxn ang="0">
                            <a:pos x="142" y="294"/>
                          </a:cxn>
                          <a:cxn ang="0">
                            <a:pos x="72" y="336"/>
                          </a:cxn>
                          <a:cxn ang="0">
                            <a:pos x="0" y="304"/>
                          </a:cxn>
                          <a:cxn ang="0">
                            <a:pos x="0" y="304"/>
                          </a:cxn>
                          <a:cxn ang="0">
                            <a:pos x="0" y="306"/>
                          </a:cxn>
                          <a:cxn ang="0">
                            <a:pos x="72" y="340"/>
                          </a:cxn>
                          <a:cxn ang="0">
                            <a:pos x="144" y="296"/>
                          </a:cxn>
                          <a:cxn ang="0">
                            <a:pos x="174" y="132"/>
                          </a:cxn>
                          <a:cxn ang="0">
                            <a:pos x="202" y="158"/>
                          </a:cxn>
                          <a:cxn ang="0">
                            <a:pos x="232" y="84"/>
                          </a:cxn>
                          <a:cxn ang="0">
                            <a:pos x="274" y="26"/>
                          </a:cxn>
                          <a:cxn ang="0">
                            <a:pos x="312" y="26"/>
                          </a:cxn>
                          <a:cxn ang="0">
                            <a:pos x="330" y="0"/>
                          </a:cxn>
                          <a:cxn ang="0">
                            <a:pos x="330" y="0"/>
                          </a:cxn>
                          <a:cxn ang="0">
                            <a:pos x="328" y="0"/>
                          </a:cxn>
                        </a:cxnLst>
                        <a:rect l="0" t="0" r="r" b="b"/>
                        <a:pathLst>
                          <a:path w="330" h="340">
                            <a:moveTo>
                              <a:pt x="328" y="0"/>
                            </a:moveTo>
                            <a:lnTo>
                              <a:pt x="312" y="22"/>
                            </a:lnTo>
                            <a:lnTo>
                              <a:pt x="272" y="22"/>
                            </a:lnTo>
                            <a:lnTo>
                              <a:pt x="230" y="84"/>
                            </a:lnTo>
                            <a:lnTo>
                              <a:pt x="202" y="154"/>
                            </a:lnTo>
                            <a:lnTo>
                              <a:pt x="172" y="130"/>
                            </a:lnTo>
                            <a:lnTo>
                              <a:pt x="142" y="294"/>
                            </a:lnTo>
                            <a:lnTo>
                              <a:pt x="72" y="336"/>
                            </a:lnTo>
                            <a:lnTo>
                              <a:pt x="0" y="304"/>
                            </a:lnTo>
                            <a:lnTo>
                              <a:pt x="0" y="304"/>
                            </a:lnTo>
                            <a:lnTo>
                              <a:pt x="0" y="306"/>
                            </a:lnTo>
                            <a:lnTo>
                              <a:pt x="72" y="340"/>
                            </a:lnTo>
                            <a:lnTo>
                              <a:pt x="144" y="296"/>
                            </a:lnTo>
                            <a:lnTo>
                              <a:pt x="174" y="132"/>
                            </a:lnTo>
                            <a:lnTo>
                              <a:pt x="202" y="158"/>
                            </a:lnTo>
                            <a:lnTo>
                              <a:pt x="232" y="84"/>
                            </a:lnTo>
                            <a:lnTo>
                              <a:pt x="274" y="26"/>
                            </a:lnTo>
                            <a:lnTo>
                              <a:pt x="312" y="26"/>
                            </a:lnTo>
                            <a:lnTo>
                              <a:pt x="330" y="0"/>
                            </a:lnTo>
                            <a:lnTo>
                              <a:pt x="330" y="0"/>
                            </a:lnTo>
                            <a:lnTo>
                              <a:pt x="32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2" name="Freeform 2951"/>
                      <p:cNvSpPr>
                        <a:spLocks/>
                      </p:cNvSpPr>
                      <p:nvPr/>
                    </p:nvSpPr>
                    <p:spPr bwMode="auto">
                      <a:xfrm>
                        <a:off x="4474" y="2001"/>
                        <a:ext cx="4" cy="4"/>
                      </a:xfrm>
                      <a:custGeom>
                        <a:avLst/>
                        <a:gdLst/>
                        <a:ahLst/>
                        <a:cxnLst>
                          <a:cxn ang="0">
                            <a:pos x="4" y="2"/>
                          </a:cxn>
                          <a:cxn ang="0">
                            <a:pos x="2" y="0"/>
                          </a:cxn>
                          <a:cxn ang="0">
                            <a:pos x="0" y="2"/>
                          </a:cxn>
                          <a:cxn ang="0">
                            <a:pos x="4" y="4"/>
                          </a:cxn>
                          <a:cxn ang="0">
                            <a:pos x="4" y="2"/>
                          </a:cxn>
                          <a:cxn ang="0">
                            <a:pos x="4" y="2"/>
                          </a:cxn>
                        </a:cxnLst>
                        <a:rect l="0" t="0" r="r" b="b"/>
                        <a:pathLst>
                          <a:path w="4" h="4">
                            <a:moveTo>
                              <a:pt x="4" y="2"/>
                            </a:moveTo>
                            <a:lnTo>
                              <a:pt x="2" y="0"/>
                            </a:lnTo>
                            <a:lnTo>
                              <a:pt x="0" y="2"/>
                            </a:lnTo>
                            <a:lnTo>
                              <a:pt x="4" y="4"/>
                            </a:lnTo>
                            <a:lnTo>
                              <a:pt x="4" y="2"/>
                            </a:lnTo>
                            <a:lnTo>
                              <a:pt x="4"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3" name="Freeform 2952"/>
                      <p:cNvSpPr>
                        <a:spLocks/>
                      </p:cNvSpPr>
                      <p:nvPr/>
                    </p:nvSpPr>
                    <p:spPr bwMode="auto">
                      <a:xfrm>
                        <a:off x="4184" y="1893"/>
                        <a:ext cx="4" cy="6"/>
                      </a:xfrm>
                      <a:custGeom>
                        <a:avLst/>
                        <a:gdLst/>
                        <a:ahLst/>
                        <a:cxnLst>
                          <a:cxn ang="0">
                            <a:pos x="0" y="2"/>
                          </a:cxn>
                          <a:cxn ang="0">
                            <a:pos x="0" y="4"/>
                          </a:cxn>
                          <a:cxn ang="0">
                            <a:pos x="4" y="6"/>
                          </a:cxn>
                          <a:cxn ang="0">
                            <a:pos x="4" y="0"/>
                          </a:cxn>
                          <a:cxn ang="0">
                            <a:pos x="0" y="0"/>
                          </a:cxn>
                          <a:cxn ang="0">
                            <a:pos x="0" y="2"/>
                          </a:cxn>
                        </a:cxnLst>
                        <a:rect l="0" t="0" r="r" b="b"/>
                        <a:pathLst>
                          <a:path w="4" h="6">
                            <a:moveTo>
                              <a:pt x="0" y="2"/>
                            </a:moveTo>
                            <a:lnTo>
                              <a:pt x="0" y="4"/>
                            </a:lnTo>
                            <a:lnTo>
                              <a:pt x="4" y="6"/>
                            </a:lnTo>
                            <a:lnTo>
                              <a:pt x="4" y="0"/>
                            </a:lnTo>
                            <a:lnTo>
                              <a:pt x="0"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4" name="Freeform 2953"/>
                      <p:cNvSpPr>
                        <a:spLocks/>
                      </p:cNvSpPr>
                      <p:nvPr/>
                    </p:nvSpPr>
                    <p:spPr bwMode="auto">
                      <a:xfrm>
                        <a:off x="5064" y="1789"/>
                        <a:ext cx="4" cy="6"/>
                      </a:xfrm>
                      <a:custGeom>
                        <a:avLst/>
                        <a:gdLst/>
                        <a:ahLst/>
                        <a:cxnLst>
                          <a:cxn ang="0">
                            <a:pos x="4" y="6"/>
                          </a:cxn>
                          <a:cxn ang="0">
                            <a:pos x="4" y="0"/>
                          </a:cxn>
                          <a:cxn ang="0">
                            <a:pos x="2" y="2"/>
                          </a:cxn>
                          <a:cxn ang="0">
                            <a:pos x="0" y="6"/>
                          </a:cxn>
                          <a:cxn ang="0">
                            <a:pos x="4" y="6"/>
                          </a:cxn>
                        </a:cxnLst>
                        <a:rect l="0" t="0" r="r" b="b"/>
                        <a:pathLst>
                          <a:path w="4" h="6">
                            <a:moveTo>
                              <a:pt x="4" y="6"/>
                            </a:moveTo>
                            <a:lnTo>
                              <a:pt x="4" y="0"/>
                            </a:lnTo>
                            <a:lnTo>
                              <a:pt x="2" y="2"/>
                            </a:lnTo>
                            <a:lnTo>
                              <a:pt x="0" y="6"/>
                            </a:lnTo>
                            <a:lnTo>
                              <a:pt x="4"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5" name="Freeform 2954"/>
                      <p:cNvSpPr>
                        <a:spLocks/>
                      </p:cNvSpPr>
                      <p:nvPr/>
                    </p:nvSpPr>
                    <p:spPr bwMode="auto">
                      <a:xfrm>
                        <a:off x="4808" y="1697"/>
                        <a:ext cx="258" cy="118"/>
                      </a:xfrm>
                      <a:custGeom>
                        <a:avLst/>
                        <a:gdLst/>
                        <a:ahLst/>
                        <a:cxnLst>
                          <a:cxn ang="0">
                            <a:pos x="54" y="106"/>
                          </a:cxn>
                          <a:cxn ang="0">
                            <a:pos x="64" y="26"/>
                          </a:cxn>
                          <a:cxn ang="0">
                            <a:pos x="2" y="0"/>
                          </a:cxn>
                          <a:cxn ang="0">
                            <a:pos x="2" y="0"/>
                          </a:cxn>
                          <a:cxn ang="0">
                            <a:pos x="2" y="2"/>
                          </a:cxn>
                          <a:cxn ang="0">
                            <a:pos x="0" y="2"/>
                          </a:cxn>
                          <a:cxn ang="0">
                            <a:pos x="60" y="28"/>
                          </a:cxn>
                          <a:cxn ang="0">
                            <a:pos x="50" y="108"/>
                          </a:cxn>
                          <a:cxn ang="0">
                            <a:pos x="172" y="118"/>
                          </a:cxn>
                          <a:cxn ang="0">
                            <a:pos x="256" y="98"/>
                          </a:cxn>
                          <a:cxn ang="0">
                            <a:pos x="258" y="94"/>
                          </a:cxn>
                          <a:cxn ang="0">
                            <a:pos x="176" y="116"/>
                          </a:cxn>
                          <a:cxn ang="0">
                            <a:pos x="54" y="106"/>
                          </a:cxn>
                        </a:cxnLst>
                        <a:rect l="0" t="0" r="r" b="b"/>
                        <a:pathLst>
                          <a:path w="258" h="118">
                            <a:moveTo>
                              <a:pt x="54" y="106"/>
                            </a:moveTo>
                            <a:lnTo>
                              <a:pt x="64" y="26"/>
                            </a:lnTo>
                            <a:lnTo>
                              <a:pt x="2" y="0"/>
                            </a:lnTo>
                            <a:lnTo>
                              <a:pt x="2" y="0"/>
                            </a:lnTo>
                            <a:lnTo>
                              <a:pt x="2" y="2"/>
                            </a:lnTo>
                            <a:lnTo>
                              <a:pt x="0" y="2"/>
                            </a:lnTo>
                            <a:lnTo>
                              <a:pt x="60" y="28"/>
                            </a:lnTo>
                            <a:lnTo>
                              <a:pt x="50" y="108"/>
                            </a:lnTo>
                            <a:lnTo>
                              <a:pt x="172" y="118"/>
                            </a:lnTo>
                            <a:lnTo>
                              <a:pt x="256" y="98"/>
                            </a:lnTo>
                            <a:lnTo>
                              <a:pt x="258" y="94"/>
                            </a:lnTo>
                            <a:lnTo>
                              <a:pt x="176" y="116"/>
                            </a:lnTo>
                            <a:lnTo>
                              <a:pt x="54" y="10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6" name="Freeform 2955"/>
                      <p:cNvSpPr>
                        <a:spLocks/>
                      </p:cNvSpPr>
                      <p:nvPr/>
                    </p:nvSpPr>
                    <p:spPr bwMode="auto">
                      <a:xfrm>
                        <a:off x="4522" y="1673"/>
                        <a:ext cx="286" cy="72"/>
                      </a:xfrm>
                      <a:custGeom>
                        <a:avLst/>
                        <a:gdLst/>
                        <a:ahLst/>
                        <a:cxnLst>
                          <a:cxn ang="0">
                            <a:pos x="18" y="56"/>
                          </a:cxn>
                          <a:cxn ang="0">
                            <a:pos x="106" y="26"/>
                          </a:cxn>
                          <a:cxn ang="0">
                            <a:pos x="132" y="72"/>
                          </a:cxn>
                          <a:cxn ang="0">
                            <a:pos x="238" y="16"/>
                          </a:cxn>
                          <a:cxn ang="0">
                            <a:pos x="284" y="26"/>
                          </a:cxn>
                          <a:cxn ang="0">
                            <a:pos x="286" y="24"/>
                          </a:cxn>
                          <a:cxn ang="0">
                            <a:pos x="234" y="12"/>
                          </a:cxn>
                          <a:cxn ang="0">
                            <a:pos x="132" y="68"/>
                          </a:cxn>
                          <a:cxn ang="0">
                            <a:pos x="108" y="26"/>
                          </a:cxn>
                          <a:cxn ang="0">
                            <a:pos x="108" y="26"/>
                          </a:cxn>
                          <a:cxn ang="0">
                            <a:pos x="106" y="24"/>
                          </a:cxn>
                          <a:cxn ang="0">
                            <a:pos x="20" y="50"/>
                          </a:cxn>
                          <a:cxn ang="0">
                            <a:pos x="2" y="0"/>
                          </a:cxn>
                          <a:cxn ang="0">
                            <a:pos x="0" y="4"/>
                          </a:cxn>
                          <a:cxn ang="0">
                            <a:pos x="0" y="6"/>
                          </a:cxn>
                          <a:cxn ang="0">
                            <a:pos x="18" y="56"/>
                          </a:cxn>
                        </a:cxnLst>
                        <a:rect l="0" t="0" r="r" b="b"/>
                        <a:pathLst>
                          <a:path w="286" h="72">
                            <a:moveTo>
                              <a:pt x="18" y="56"/>
                            </a:moveTo>
                            <a:lnTo>
                              <a:pt x="106" y="26"/>
                            </a:lnTo>
                            <a:lnTo>
                              <a:pt x="132" y="72"/>
                            </a:lnTo>
                            <a:lnTo>
                              <a:pt x="238" y="16"/>
                            </a:lnTo>
                            <a:lnTo>
                              <a:pt x="284" y="26"/>
                            </a:lnTo>
                            <a:lnTo>
                              <a:pt x="286" y="24"/>
                            </a:lnTo>
                            <a:lnTo>
                              <a:pt x="234" y="12"/>
                            </a:lnTo>
                            <a:lnTo>
                              <a:pt x="132" y="68"/>
                            </a:lnTo>
                            <a:lnTo>
                              <a:pt x="108" y="26"/>
                            </a:lnTo>
                            <a:lnTo>
                              <a:pt x="108" y="26"/>
                            </a:lnTo>
                            <a:lnTo>
                              <a:pt x="106" y="24"/>
                            </a:lnTo>
                            <a:lnTo>
                              <a:pt x="20" y="50"/>
                            </a:lnTo>
                            <a:lnTo>
                              <a:pt x="2" y="0"/>
                            </a:lnTo>
                            <a:lnTo>
                              <a:pt x="0" y="4"/>
                            </a:lnTo>
                            <a:lnTo>
                              <a:pt x="0" y="6"/>
                            </a:lnTo>
                            <a:lnTo>
                              <a:pt x="18" y="5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7" name="Freeform 2956"/>
                      <p:cNvSpPr>
                        <a:spLocks/>
                      </p:cNvSpPr>
                      <p:nvPr/>
                    </p:nvSpPr>
                    <p:spPr bwMode="auto">
                      <a:xfrm>
                        <a:off x="4806" y="1697"/>
                        <a:ext cx="4" cy="2"/>
                      </a:xfrm>
                      <a:custGeom>
                        <a:avLst/>
                        <a:gdLst/>
                        <a:ahLst/>
                        <a:cxnLst>
                          <a:cxn ang="0">
                            <a:pos x="2" y="2"/>
                          </a:cxn>
                          <a:cxn ang="0">
                            <a:pos x="2" y="2"/>
                          </a:cxn>
                          <a:cxn ang="0">
                            <a:pos x="4" y="2"/>
                          </a:cxn>
                          <a:cxn ang="0">
                            <a:pos x="4" y="0"/>
                          </a:cxn>
                          <a:cxn ang="0">
                            <a:pos x="2" y="0"/>
                          </a:cxn>
                          <a:cxn ang="0">
                            <a:pos x="0" y="2"/>
                          </a:cxn>
                          <a:cxn ang="0">
                            <a:pos x="2" y="2"/>
                          </a:cxn>
                        </a:cxnLst>
                        <a:rect l="0" t="0" r="r" b="b"/>
                        <a:pathLst>
                          <a:path w="4" h="2">
                            <a:moveTo>
                              <a:pt x="2" y="2"/>
                            </a:moveTo>
                            <a:lnTo>
                              <a:pt x="2" y="2"/>
                            </a:lnTo>
                            <a:lnTo>
                              <a:pt x="4" y="2"/>
                            </a:lnTo>
                            <a:lnTo>
                              <a:pt x="4" y="0"/>
                            </a:lnTo>
                            <a:lnTo>
                              <a:pt x="2" y="0"/>
                            </a:lnTo>
                            <a:lnTo>
                              <a:pt x="0" y="2"/>
                            </a:lnTo>
                            <a:lnTo>
                              <a:pt x="2"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88" name="Rectangle 2957"/>
                      <p:cNvSpPr>
                        <a:spLocks noChangeArrowheads="1"/>
                      </p:cNvSpPr>
                      <p:nvPr/>
                    </p:nvSpPr>
                    <p:spPr bwMode="auto">
                      <a:xfrm>
                        <a:off x="4522" y="1677"/>
                        <a:ext cx="1" cy="2"/>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89" name="Freeform 2958"/>
                      <p:cNvSpPr>
                        <a:spLocks/>
                      </p:cNvSpPr>
                      <p:nvPr/>
                    </p:nvSpPr>
                    <p:spPr bwMode="auto">
                      <a:xfrm>
                        <a:off x="4516" y="1321"/>
                        <a:ext cx="490" cy="270"/>
                      </a:xfrm>
                      <a:custGeom>
                        <a:avLst/>
                        <a:gdLst/>
                        <a:ahLst/>
                        <a:cxnLst>
                          <a:cxn ang="0">
                            <a:pos x="462" y="258"/>
                          </a:cxn>
                          <a:cxn ang="0">
                            <a:pos x="490" y="190"/>
                          </a:cxn>
                          <a:cxn ang="0">
                            <a:pos x="452" y="138"/>
                          </a:cxn>
                          <a:cxn ang="0">
                            <a:pos x="462" y="68"/>
                          </a:cxn>
                          <a:cxn ang="0">
                            <a:pos x="382" y="0"/>
                          </a:cxn>
                          <a:cxn ang="0">
                            <a:pos x="18" y="120"/>
                          </a:cxn>
                          <a:cxn ang="0">
                            <a:pos x="2" y="74"/>
                          </a:cxn>
                          <a:cxn ang="0">
                            <a:pos x="0" y="76"/>
                          </a:cxn>
                          <a:cxn ang="0">
                            <a:pos x="16" y="124"/>
                          </a:cxn>
                          <a:cxn ang="0">
                            <a:pos x="382" y="4"/>
                          </a:cxn>
                          <a:cxn ang="0">
                            <a:pos x="458" y="70"/>
                          </a:cxn>
                          <a:cxn ang="0">
                            <a:pos x="448" y="138"/>
                          </a:cxn>
                          <a:cxn ang="0">
                            <a:pos x="488" y="190"/>
                          </a:cxn>
                          <a:cxn ang="0">
                            <a:pos x="458" y="256"/>
                          </a:cxn>
                          <a:cxn ang="0">
                            <a:pos x="428" y="266"/>
                          </a:cxn>
                          <a:cxn ang="0">
                            <a:pos x="430" y="270"/>
                          </a:cxn>
                          <a:cxn ang="0">
                            <a:pos x="462" y="258"/>
                          </a:cxn>
                        </a:cxnLst>
                        <a:rect l="0" t="0" r="r" b="b"/>
                        <a:pathLst>
                          <a:path w="490" h="270">
                            <a:moveTo>
                              <a:pt x="462" y="258"/>
                            </a:moveTo>
                            <a:lnTo>
                              <a:pt x="490" y="190"/>
                            </a:lnTo>
                            <a:lnTo>
                              <a:pt x="452" y="138"/>
                            </a:lnTo>
                            <a:lnTo>
                              <a:pt x="462" y="68"/>
                            </a:lnTo>
                            <a:lnTo>
                              <a:pt x="382" y="0"/>
                            </a:lnTo>
                            <a:lnTo>
                              <a:pt x="18" y="120"/>
                            </a:lnTo>
                            <a:lnTo>
                              <a:pt x="2" y="74"/>
                            </a:lnTo>
                            <a:lnTo>
                              <a:pt x="0" y="76"/>
                            </a:lnTo>
                            <a:lnTo>
                              <a:pt x="16" y="124"/>
                            </a:lnTo>
                            <a:lnTo>
                              <a:pt x="382" y="4"/>
                            </a:lnTo>
                            <a:lnTo>
                              <a:pt x="458" y="70"/>
                            </a:lnTo>
                            <a:lnTo>
                              <a:pt x="448" y="138"/>
                            </a:lnTo>
                            <a:lnTo>
                              <a:pt x="488" y="190"/>
                            </a:lnTo>
                            <a:lnTo>
                              <a:pt x="458" y="256"/>
                            </a:lnTo>
                            <a:lnTo>
                              <a:pt x="428" y="266"/>
                            </a:lnTo>
                            <a:lnTo>
                              <a:pt x="430" y="270"/>
                            </a:lnTo>
                            <a:lnTo>
                              <a:pt x="462" y="25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0" name="Freeform 2959"/>
                      <p:cNvSpPr>
                        <a:spLocks/>
                      </p:cNvSpPr>
                      <p:nvPr/>
                    </p:nvSpPr>
                    <p:spPr bwMode="auto">
                      <a:xfrm>
                        <a:off x="4626" y="1587"/>
                        <a:ext cx="320" cy="112"/>
                      </a:xfrm>
                      <a:custGeom>
                        <a:avLst/>
                        <a:gdLst/>
                        <a:ahLst/>
                        <a:cxnLst>
                          <a:cxn ang="0">
                            <a:pos x="4" y="112"/>
                          </a:cxn>
                          <a:cxn ang="0">
                            <a:pos x="320" y="4"/>
                          </a:cxn>
                          <a:cxn ang="0">
                            <a:pos x="318" y="0"/>
                          </a:cxn>
                          <a:cxn ang="0">
                            <a:pos x="0" y="110"/>
                          </a:cxn>
                          <a:cxn ang="0">
                            <a:pos x="2" y="110"/>
                          </a:cxn>
                          <a:cxn ang="0">
                            <a:pos x="2" y="110"/>
                          </a:cxn>
                          <a:cxn ang="0">
                            <a:pos x="4" y="112"/>
                          </a:cxn>
                        </a:cxnLst>
                        <a:rect l="0" t="0" r="r" b="b"/>
                        <a:pathLst>
                          <a:path w="320" h="112">
                            <a:moveTo>
                              <a:pt x="4" y="112"/>
                            </a:moveTo>
                            <a:lnTo>
                              <a:pt x="320" y="4"/>
                            </a:lnTo>
                            <a:lnTo>
                              <a:pt x="318" y="0"/>
                            </a:lnTo>
                            <a:lnTo>
                              <a:pt x="0" y="110"/>
                            </a:lnTo>
                            <a:lnTo>
                              <a:pt x="2" y="110"/>
                            </a:lnTo>
                            <a:lnTo>
                              <a:pt x="2" y="110"/>
                            </a:lnTo>
                            <a:lnTo>
                              <a:pt x="4" y="11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1" name="Freeform 2960"/>
                      <p:cNvSpPr>
                        <a:spLocks/>
                      </p:cNvSpPr>
                      <p:nvPr/>
                    </p:nvSpPr>
                    <p:spPr bwMode="auto">
                      <a:xfrm>
                        <a:off x="4628" y="1697"/>
                        <a:ext cx="2" cy="2"/>
                      </a:xfrm>
                      <a:custGeom>
                        <a:avLst/>
                        <a:gdLst/>
                        <a:ahLst/>
                        <a:cxnLst>
                          <a:cxn ang="0">
                            <a:pos x="2" y="2"/>
                          </a:cxn>
                          <a:cxn ang="0">
                            <a:pos x="0" y="0"/>
                          </a:cxn>
                          <a:cxn ang="0">
                            <a:pos x="0" y="0"/>
                          </a:cxn>
                          <a:cxn ang="0">
                            <a:pos x="2" y="2"/>
                          </a:cxn>
                          <a:cxn ang="0">
                            <a:pos x="2" y="2"/>
                          </a:cxn>
                        </a:cxnLst>
                        <a:rect l="0" t="0" r="r" b="b"/>
                        <a:pathLst>
                          <a:path w="2" h="2">
                            <a:moveTo>
                              <a:pt x="2" y="2"/>
                            </a:moveTo>
                            <a:lnTo>
                              <a:pt x="0" y="0"/>
                            </a:lnTo>
                            <a:lnTo>
                              <a:pt x="0" y="0"/>
                            </a:lnTo>
                            <a:lnTo>
                              <a:pt x="2" y="2"/>
                            </a:lnTo>
                            <a:lnTo>
                              <a:pt x="2"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2" name="Rectangle 2961"/>
                      <p:cNvSpPr>
                        <a:spLocks noChangeArrowheads="1"/>
                      </p:cNvSpPr>
                      <p:nvPr/>
                    </p:nvSpPr>
                    <p:spPr bwMode="auto">
                      <a:xfrm>
                        <a:off x="5072" y="1723"/>
                        <a:ext cx="2" cy="2"/>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93" name="Rectangle 2962"/>
                      <p:cNvSpPr>
                        <a:spLocks noChangeArrowheads="1"/>
                      </p:cNvSpPr>
                      <p:nvPr/>
                    </p:nvSpPr>
                    <p:spPr bwMode="auto">
                      <a:xfrm>
                        <a:off x="4944" y="1587"/>
                        <a:ext cx="1"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394" name="Freeform 2963"/>
                      <p:cNvSpPr>
                        <a:spLocks/>
                      </p:cNvSpPr>
                      <p:nvPr/>
                    </p:nvSpPr>
                    <p:spPr bwMode="auto">
                      <a:xfrm>
                        <a:off x="4946" y="1591"/>
                        <a:ext cx="126" cy="162"/>
                      </a:xfrm>
                      <a:custGeom>
                        <a:avLst/>
                        <a:gdLst/>
                        <a:ahLst/>
                        <a:cxnLst>
                          <a:cxn ang="0">
                            <a:pos x="0" y="0"/>
                          </a:cxn>
                          <a:cxn ang="0">
                            <a:pos x="0" y="0"/>
                          </a:cxn>
                          <a:cxn ang="0">
                            <a:pos x="58" y="162"/>
                          </a:cxn>
                          <a:cxn ang="0">
                            <a:pos x="126" y="134"/>
                          </a:cxn>
                          <a:cxn ang="0">
                            <a:pos x="126" y="132"/>
                          </a:cxn>
                          <a:cxn ang="0">
                            <a:pos x="62" y="158"/>
                          </a:cxn>
                          <a:cxn ang="0">
                            <a:pos x="0" y="0"/>
                          </a:cxn>
                        </a:cxnLst>
                        <a:rect l="0" t="0" r="r" b="b"/>
                        <a:pathLst>
                          <a:path w="126" h="162">
                            <a:moveTo>
                              <a:pt x="0" y="0"/>
                            </a:moveTo>
                            <a:lnTo>
                              <a:pt x="0" y="0"/>
                            </a:lnTo>
                            <a:lnTo>
                              <a:pt x="58" y="162"/>
                            </a:lnTo>
                            <a:lnTo>
                              <a:pt x="126" y="134"/>
                            </a:lnTo>
                            <a:lnTo>
                              <a:pt x="126" y="132"/>
                            </a:lnTo>
                            <a:lnTo>
                              <a:pt x="62" y="158"/>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5" name="Freeform 2964"/>
                      <p:cNvSpPr>
                        <a:spLocks/>
                      </p:cNvSpPr>
                      <p:nvPr/>
                    </p:nvSpPr>
                    <p:spPr bwMode="auto">
                      <a:xfrm>
                        <a:off x="4944" y="1587"/>
                        <a:ext cx="2" cy="4"/>
                      </a:xfrm>
                      <a:custGeom>
                        <a:avLst/>
                        <a:gdLst/>
                        <a:ahLst/>
                        <a:cxnLst>
                          <a:cxn ang="0">
                            <a:pos x="2" y="4"/>
                          </a:cxn>
                          <a:cxn ang="0">
                            <a:pos x="0" y="0"/>
                          </a:cxn>
                          <a:cxn ang="0">
                            <a:pos x="0" y="0"/>
                          </a:cxn>
                          <a:cxn ang="0">
                            <a:pos x="2" y="4"/>
                          </a:cxn>
                          <a:cxn ang="0">
                            <a:pos x="2" y="4"/>
                          </a:cxn>
                        </a:cxnLst>
                        <a:rect l="0" t="0" r="r" b="b"/>
                        <a:pathLst>
                          <a:path w="2" h="4">
                            <a:moveTo>
                              <a:pt x="2" y="4"/>
                            </a:moveTo>
                            <a:lnTo>
                              <a:pt x="0" y="0"/>
                            </a:lnTo>
                            <a:lnTo>
                              <a:pt x="0" y="0"/>
                            </a:lnTo>
                            <a:lnTo>
                              <a:pt x="2" y="4"/>
                            </a:lnTo>
                            <a:lnTo>
                              <a:pt x="2"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6" name="Freeform 2965"/>
                      <p:cNvSpPr>
                        <a:spLocks/>
                      </p:cNvSpPr>
                      <p:nvPr/>
                    </p:nvSpPr>
                    <p:spPr bwMode="auto">
                      <a:xfrm>
                        <a:off x="5280" y="1225"/>
                        <a:ext cx="2" cy="4"/>
                      </a:xfrm>
                      <a:custGeom>
                        <a:avLst/>
                        <a:gdLst/>
                        <a:ahLst/>
                        <a:cxnLst>
                          <a:cxn ang="0">
                            <a:pos x="2" y="4"/>
                          </a:cxn>
                          <a:cxn ang="0">
                            <a:pos x="2" y="2"/>
                          </a:cxn>
                          <a:cxn ang="0">
                            <a:pos x="0" y="0"/>
                          </a:cxn>
                          <a:cxn ang="0">
                            <a:pos x="0" y="0"/>
                          </a:cxn>
                          <a:cxn ang="0">
                            <a:pos x="2" y="4"/>
                          </a:cxn>
                        </a:cxnLst>
                        <a:rect l="0" t="0" r="r" b="b"/>
                        <a:pathLst>
                          <a:path w="2" h="4">
                            <a:moveTo>
                              <a:pt x="2" y="4"/>
                            </a:moveTo>
                            <a:lnTo>
                              <a:pt x="2" y="2"/>
                            </a:lnTo>
                            <a:lnTo>
                              <a:pt x="0" y="0"/>
                            </a:lnTo>
                            <a:lnTo>
                              <a:pt x="0" y="0"/>
                            </a:lnTo>
                            <a:lnTo>
                              <a:pt x="2" y="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7" name="Freeform 2966"/>
                      <p:cNvSpPr>
                        <a:spLocks/>
                      </p:cNvSpPr>
                      <p:nvPr/>
                    </p:nvSpPr>
                    <p:spPr bwMode="auto">
                      <a:xfrm>
                        <a:off x="5218" y="1341"/>
                        <a:ext cx="4" cy="6"/>
                      </a:xfrm>
                      <a:custGeom>
                        <a:avLst/>
                        <a:gdLst/>
                        <a:ahLst/>
                        <a:cxnLst>
                          <a:cxn ang="0">
                            <a:pos x="2" y="6"/>
                          </a:cxn>
                          <a:cxn ang="0">
                            <a:pos x="2" y="6"/>
                          </a:cxn>
                          <a:cxn ang="0">
                            <a:pos x="4" y="4"/>
                          </a:cxn>
                          <a:cxn ang="0">
                            <a:pos x="2" y="0"/>
                          </a:cxn>
                          <a:cxn ang="0">
                            <a:pos x="0" y="4"/>
                          </a:cxn>
                          <a:cxn ang="0">
                            <a:pos x="2" y="6"/>
                          </a:cxn>
                        </a:cxnLst>
                        <a:rect l="0" t="0" r="r" b="b"/>
                        <a:pathLst>
                          <a:path w="4" h="6">
                            <a:moveTo>
                              <a:pt x="2" y="6"/>
                            </a:moveTo>
                            <a:lnTo>
                              <a:pt x="2" y="6"/>
                            </a:lnTo>
                            <a:lnTo>
                              <a:pt x="4" y="4"/>
                            </a:lnTo>
                            <a:lnTo>
                              <a:pt x="2" y="0"/>
                            </a:lnTo>
                            <a:lnTo>
                              <a:pt x="0" y="4"/>
                            </a:lnTo>
                            <a:lnTo>
                              <a:pt x="2"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8" name="Freeform 2967"/>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399" name="Freeform 2968"/>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0" name="Freeform 2969"/>
                      <p:cNvSpPr>
                        <a:spLocks/>
                      </p:cNvSpPr>
                      <p:nvPr/>
                    </p:nvSpPr>
                    <p:spPr bwMode="auto">
                      <a:xfrm>
                        <a:off x="5190" y="1183"/>
                        <a:ext cx="90" cy="162"/>
                      </a:xfrm>
                      <a:custGeom>
                        <a:avLst/>
                        <a:gdLst/>
                        <a:ahLst/>
                        <a:cxnLst>
                          <a:cxn ang="0">
                            <a:pos x="0" y="20"/>
                          </a:cxn>
                          <a:cxn ang="0">
                            <a:pos x="28" y="162"/>
                          </a:cxn>
                          <a:cxn ang="0">
                            <a:pos x="30" y="158"/>
                          </a:cxn>
                          <a:cxn ang="0">
                            <a:pos x="4" y="20"/>
                          </a:cxn>
                          <a:cxn ang="0">
                            <a:pos x="54" y="2"/>
                          </a:cxn>
                          <a:cxn ang="0">
                            <a:pos x="90" y="42"/>
                          </a:cxn>
                          <a:cxn ang="0">
                            <a:pos x="90" y="42"/>
                          </a:cxn>
                          <a:cxn ang="0">
                            <a:pos x="54" y="0"/>
                          </a:cxn>
                          <a:cxn ang="0">
                            <a:pos x="0" y="20"/>
                          </a:cxn>
                        </a:cxnLst>
                        <a:rect l="0" t="0" r="r" b="b"/>
                        <a:pathLst>
                          <a:path w="90" h="162">
                            <a:moveTo>
                              <a:pt x="0" y="20"/>
                            </a:moveTo>
                            <a:lnTo>
                              <a:pt x="28" y="162"/>
                            </a:lnTo>
                            <a:lnTo>
                              <a:pt x="30" y="158"/>
                            </a:lnTo>
                            <a:lnTo>
                              <a:pt x="4" y="20"/>
                            </a:lnTo>
                            <a:lnTo>
                              <a:pt x="54" y="2"/>
                            </a:lnTo>
                            <a:lnTo>
                              <a:pt x="90" y="42"/>
                            </a:lnTo>
                            <a:lnTo>
                              <a:pt x="90" y="42"/>
                            </a:lnTo>
                            <a:lnTo>
                              <a:pt x="54" y="0"/>
                            </a:lnTo>
                            <a:lnTo>
                              <a:pt x="0" y="2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1" name="Rectangle 2970"/>
                      <p:cNvSpPr>
                        <a:spLocks noChangeArrowheads="1"/>
                      </p:cNvSpPr>
                      <p:nvPr/>
                    </p:nvSpPr>
                    <p:spPr bwMode="auto">
                      <a:xfrm>
                        <a:off x="5220" y="1347"/>
                        <a:ext cx="1" cy="1"/>
                      </a:xfrm>
                      <a:prstGeom prst="rect">
                        <a:avLst/>
                      </a:prstGeom>
                      <a:grpFill/>
                      <a:ln w="6350">
                        <a:solidFill>
                          <a:schemeClr val="tx1">
                            <a:lumMod val="50000"/>
                            <a:lumOff val="50000"/>
                          </a:schemeClr>
                        </a:solidFill>
                        <a:prstDash val="solid"/>
                        <a:miter lim="800000"/>
                        <a:headEnd/>
                        <a:tailEnd/>
                      </a:ln>
                    </p:spPr>
                    <p:txBody>
                      <a:bodyPr/>
                      <a:lstStyle/>
                      <a:p>
                        <a:pPr>
                          <a:defRPr/>
                        </a:pPr>
                        <a:endParaRPr lang="da-DK" sz="800">
                          <a:solidFill>
                            <a:prstClr val="black"/>
                          </a:solidFill>
                        </a:endParaRPr>
                      </a:p>
                    </p:txBody>
                  </p:sp>
                  <p:sp>
                    <p:nvSpPr>
                      <p:cNvPr id="402" name="Freeform 2971"/>
                      <p:cNvSpPr>
                        <a:spLocks/>
                      </p:cNvSpPr>
                      <p:nvPr/>
                    </p:nvSpPr>
                    <p:spPr bwMode="auto">
                      <a:xfrm>
                        <a:off x="5086" y="815"/>
                        <a:ext cx="166" cy="248"/>
                      </a:xfrm>
                      <a:custGeom>
                        <a:avLst/>
                        <a:gdLst/>
                        <a:ahLst/>
                        <a:cxnLst>
                          <a:cxn ang="0">
                            <a:pos x="0" y="0"/>
                          </a:cxn>
                          <a:cxn ang="0">
                            <a:pos x="0" y="2"/>
                          </a:cxn>
                          <a:cxn ang="0">
                            <a:pos x="126" y="220"/>
                          </a:cxn>
                          <a:cxn ang="0">
                            <a:pos x="166" y="248"/>
                          </a:cxn>
                          <a:cxn ang="0">
                            <a:pos x="166" y="246"/>
                          </a:cxn>
                          <a:cxn ang="0">
                            <a:pos x="126" y="218"/>
                          </a:cxn>
                          <a:cxn ang="0">
                            <a:pos x="0" y="0"/>
                          </a:cxn>
                        </a:cxnLst>
                        <a:rect l="0" t="0" r="r" b="b"/>
                        <a:pathLst>
                          <a:path w="166" h="248">
                            <a:moveTo>
                              <a:pt x="0" y="0"/>
                            </a:moveTo>
                            <a:lnTo>
                              <a:pt x="0" y="2"/>
                            </a:lnTo>
                            <a:lnTo>
                              <a:pt x="126" y="220"/>
                            </a:lnTo>
                            <a:lnTo>
                              <a:pt x="166" y="248"/>
                            </a:lnTo>
                            <a:lnTo>
                              <a:pt x="166" y="246"/>
                            </a:lnTo>
                            <a:lnTo>
                              <a:pt x="126" y="218"/>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3" name="Freeform 2972"/>
                      <p:cNvSpPr>
                        <a:spLocks/>
                      </p:cNvSpPr>
                      <p:nvPr/>
                    </p:nvSpPr>
                    <p:spPr bwMode="auto">
                      <a:xfrm>
                        <a:off x="1412" y="711"/>
                        <a:ext cx="64" cy="342"/>
                      </a:xfrm>
                      <a:custGeom>
                        <a:avLst/>
                        <a:gdLst/>
                        <a:ahLst/>
                        <a:cxnLst>
                          <a:cxn ang="0">
                            <a:pos x="0" y="342"/>
                          </a:cxn>
                          <a:cxn ang="0">
                            <a:pos x="64" y="0"/>
                          </a:cxn>
                          <a:cxn ang="0">
                            <a:pos x="60" y="0"/>
                          </a:cxn>
                          <a:cxn ang="0">
                            <a:pos x="0" y="342"/>
                          </a:cxn>
                        </a:cxnLst>
                        <a:rect l="0" t="0" r="r" b="b"/>
                        <a:pathLst>
                          <a:path w="64" h="342">
                            <a:moveTo>
                              <a:pt x="0" y="342"/>
                            </a:moveTo>
                            <a:lnTo>
                              <a:pt x="64" y="0"/>
                            </a:lnTo>
                            <a:lnTo>
                              <a:pt x="60" y="0"/>
                            </a:lnTo>
                            <a:lnTo>
                              <a:pt x="0" y="3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4" name="Freeform 2973"/>
                      <p:cNvSpPr>
                        <a:spLocks/>
                      </p:cNvSpPr>
                      <p:nvPr/>
                    </p:nvSpPr>
                    <p:spPr bwMode="auto">
                      <a:xfrm>
                        <a:off x="760" y="923"/>
                        <a:ext cx="682" cy="650"/>
                      </a:xfrm>
                      <a:custGeom>
                        <a:avLst/>
                        <a:gdLst/>
                        <a:ahLst/>
                        <a:cxnLst>
                          <a:cxn ang="0">
                            <a:pos x="528" y="128"/>
                          </a:cxn>
                          <a:cxn ang="0">
                            <a:pos x="412" y="144"/>
                          </a:cxn>
                          <a:cxn ang="0">
                            <a:pos x="232" y="112"/>
                          </a:cxn>
                          <a:cxn ang="0">
                            <a:pos x="224" y="26"/>
                          </a:cxn>
                          <a:cxn ang="0">
                            <a:pos x="128" y="0"/>
                          </a:cxn>
                          <a:cxn ang="0">
                            <a:pos x="128" y="20"/>
                          </a:cxn>
                          <a:cxn ang="0">
                            <a:pos x="0" y="410"/>
                          </a:cxn>
                          <a:cxn ang="0">
                            <a:pos x="6" y="510"/>
                          </a:cxn>
                          <a:cxn ang="0">
                            <a:pos x="344" y="602"/>
                          </a:cxn>
                          <a:cxn ang="0">
                            <a:pos x="572" y="650"/>
                          </a:cxn>
                          <a:cxn ang="0">
                            <a:pos x="622" y="386"/>
                          </a:cxn>
                          <a:cxn ang="0">
                            <a:pos x="614" y="360"/>
                          </a:cxn>
                          <a:cxn ang="0">
                            <a:pos x="682" y="224"/>
                          </a:cxn>
                          <a:cxn ang="0">
                            <a:pos x="662" y="166"/>
                          </a:cxn>
                          <a:cxn ang="0">
                            <a:pos x="528" y="128"/>
                          </a:cxn>
                        </a:cxnLst>
                        <a:rect l="0" t="0" r="r" b="b"/>
                        <a:pathLst>
                          <a:path w="682" h="650">
                            <a:moveTo>
                              <a:pt x="528" y="128"/>
                            </a:moveTo>
                            <a:lnTo>
                              <a:pt x="412" y="144"/>
                            </a:lnTo>
                            <a:lnTo>
                              <a:pt x="232" y="112"/>
                            </a:lnTo>
                            <a:lnTo>
                              <a:pt x="224" y="26"/>
                            </a:lnTo>
                            <a:lnTo>
                              <a:pt x="128" y="0"/>
                            </a:lnTo>
                            <a:lnTo>
                              <a:pt x="128" y="20"/>
                            </a:lnTo>
                            <a:lnTo>
                              <a:pt x="0" y="410"/>
                            </a:lnTo>
                            <a:lnTo>
                              <a:pt x="6" y="510"/>
                            </a:lnTo>
                            <a:lnTo>
                              <a:pt x="344" y="602"/>
                            </a:lnTo>
                            <a:lnTo>
                              <a:pt x="572" y="650"/>
                            </a:lnTo>
                            <a:lnTo>
                              <a:pt x="622" y="386"/>
                            </a:lnTo>
                            <a:lnTo>
                              <a:pt x="614" y="360"/>
                            </a:lnTo>
                            <a:lnTo>
                              <a:pt x="682" y="224"/>
                            </a:lnTo>
                            <a:lnTo>
                              <a:pt x="662" y="166"/>
                            </a:lnTo>
                            <a:lnTo>
                              <a:pt x="528" y="12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5" name="Freeform 2974"/>
                      <p:cNvSpPr>
                        <a:spLocks/>
                      </p:cNvSpPr>
                      <p:nvPr/>
                    </p:nvSpPr>
                    <p:spPr bwMode="auto">
                      <a:xfrm>
                        <a:off x="888" y="593"/>
                        <a:ext cx="588" cy="486"/>
                      </a:xfrm>
                      <a:custGeom>
                        <a:avLst/>
                        <a:gdLst/>
                        <a:ahLst/>
                        <a:cxnLst>
                          <a:cxn ang="0">
                            <a:pos x="198" y="12"/>
                          </a:cxn>
                          <a:cxn ang="0">
                            <a:pos x="118" y="92"/>
                          </a:cxn>
                          <a:cxn ang="0">
                            <a:pos x="0" y="0"/>
                          </a:cxn>
                          <a:cxn ang="0">
                            <a:pos x="0" y="324"/>
                          </a:cxn>
                          <a:cxn ang="0">
                            <a:pos x="100" y="352"/>
                          </a:cxn>
                          <a:cxn ang="0">
                            <a:pos x="110" y="436"/>
                          </a:cxn>
                          <a:cxn ang="0">
                            <a:pos x="284" y="468"/>
                          </a:cxn>
                          <a:cxn ang="0">
                            <a:pos x="400" y="452"/>
                          </a:cxn>
                          <a:cxn ang="0">
                            <a:pos x="532" y="486"/>
                          </a:cxn>
                          <a:cxn ang="0">
                            <a:pos x="524" y="460"/>
                          </a:cxn>
                          <a:cxn ang="0">
                            <a:pos x="584" y="118"/>
                          </a:cxn>
                          <a:cxn ang="0">
                            <a:pos x="588" y="118"/>
                          </a:cxn>
                          <a:cxn ang="0">
                            <a:pos x="588" y="116"/>
                          </a:cxn>
                          <a:cxn ang="0">
                            <a:pos x="198" y="12"/>
                          </a:cxn>
                        </a:cxnLst>
                        <a:rect l="0" t="0" r="r" b="b"/>
                        <a:pathLst>
                          <a:path w="588" h="486">
                            <a:moveTo>
                              <a:pt x="198" y="12"/>
                            </a:moveTo>
                            <a:lnTo>
                              <a:pt x="118" y="92"/>
                            </a:lnTo>
                            <a:lnTo>
                              <a:pt x="0" y="0"/>
                            </a:lnTo>
                            <a:lnTo>
                              <a:pt x="0" y="324"/>
                            </a:lnTo>
                            <a:lnTo>
                              <a:pt x="100" y="352"/>
                            </a:lnTo>
                            <a:lnTo>
                              <a:pt x="110" y="436"/>
                            </a:lnTo>
                            <a:lnTo>
                              <a:pt x="284" y="468"/>
                            </a:lnTo>
                            <a:lnTo>
                              <a:pt x="400" y="452"/>
                            </a:lnTo>
                            <a:lnTo>
                              <a:pt x="532" y="486"/>
                            </a:lnTo>
                            <a:lnTo>
                              <a:pt x="524" y="460"/>
                            </a:lnTo>
                            <a:lnTo>
                              <a:pt x="584" y="118"/>
                            </a:lnTo>
                            <a:lnTo>
                              <a:pt x="588" y="118"/>
                            </a:lnTo>
                            <a:lnTo>
                              <a:pt x="588" y="116"/>
                            </a:lnTo>
                            <a:lnTo>
                              <a:pt x="198" y="1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6" name="Freeform 2975"/>
                      <p:cNvSpPr>
                        <a:spLocks/>
                      </p:cNvSpPr>
                      <p:nvPr/>
                    </p:nvSpPr>
                    <p:spPr bwMode="auto">
                      <a:xfrm>
                        <a:off x="1412" y="1053"/>
                        <a:ext cx="8" cy="26"/>
                      </a:xfrm>
                      <a:custGeom>
                        <a:avLst/>
                        <a:gdLst/>
                        <a:ahLst/>
                        <a:cxnLst>
                          <a:cxn ang="0">
                            <a:pos x="8" y="26"/>
                          </a:cxn>
                          <a:cxn ang="0">
                            <a:pos x="0" y="0"/>
                          </a:cxn>
                          <a:cxn ang="0">
                            <a:pos x="8" y="26"/>
                          </a:cxn>
                          <a:cxn ang="0">
                            <a:pos x="8" y="26"/>
                          </a:cxn>
                        </a:cxnLst>
                        <a:rect l="0" t="0" r="r" b="b"/>
                        <a:pathLst>
                          <a:path w="8" h="26">
                            <a:moveTo>
                              <a:pt x="8" y="26"/>
                            </a:moveTo>
                            <a:lnTo>
                              <a:pt x="0" y="0"/>
                            </a:lnTo>
                            <a:lnTo>
                              <a:pt x="8" y="26"/>
                            </a:lnTo>
                            <a:lnTo>
                              <a:pt x="8" y="2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7" name="Freeform 2979"/>
                      <p:cNvSpPr>
                        <a:spLocks/>
                      </p:cNvSpPr>
                      <p:nvPr/>
                    </p:nvSpPr>
                    <p:spPr bwMode="auto">
                      <a:xfrm>
                        <a:off x="1594" y="1057"/>
                        <a:ext cx="182" cy="296"/>
                      </a:xfrm>
                      <a:custGeom>
                        <a:avLst/>
                        <a:gdLst/>
                        <a:ahLst/>
                        <a:cxnLst>
                          <a:cxn ang="0">
                            <a:pos x="50" y="126"/>
                          </a:cxn>
                          <a:cxn ang="0">
                            <a:pos x="40" y="188"/>
                          </a:cxn>
                          <a:cxn ang="0">
                            <a:pos x="112" y="296"/>
                          </a:cxn>
                          <a:cxn ang="0">
                            <a:pos x="182" y="284"/>
                          </a:cxn>
                          <a:cxn ang="0">
                            <a:pos x="118" y="292"/>
                          </a:cxn>
                          <a:cxn ang="0">
                            <a:pos x="48" y="188"/>
                          </a:cxn>
                          <a:cxn ang="0">
                            <a:pos x="56" y="118"/>
                          </a:cxn>
                          <a:cxn ang="0">
                            <a:pos x="8" y="130"/>
                          </a:cxn>
                          <a:cxn ang="0">
                            <a:pos x="38" y="0"/>
                          </a:cxn>
                          <a:cxn ang="0">
                            <a:pos x="0" y="138"/>
                          </a:cxn>
                          <a:cxn ang="0">
                            <a:pos x="50" y="126"/>
                          </a:cxn>
                        </a:cxnLst>
                        <a:rect l="0" t="0" r="r" b="b"/>
                        <a:pathLst>
                          <a:path w="182" h="296">
                            <a:moveTo>
                              <a:pt x="50" y="126"/>
                            </a:moveTo>
                            <a:lnTo>
                              <a:pt x="40" y="188"/>
                            </a:lnTo>
                            <a:lnTo>
                              <a:pt x="112" y="296"/>
                            </a:lnTo>
                            <a:lnTo>
                              <a:pt x="182" y="284"/>
                            </a:lnTo>
                            <a:lnTo>
                              <a:pt x="118" y="292"/>
                            </a:lnTo>
                            <a:lnTo>
                              <a:pt x="48" y="188"/>
                            </a:lnTo>
                            <a:lnTo>
                              <a:pt x="56" y="118"/>
                            </a:lnTo>
                            <a:lnTo>
                              <a:pt x="8" y="130"/>
                            </a:lnTo>
                            <a:lnTo>
                              <a:pt x="38" y="0"/>
                            </a:lnTo>
                            <a:lnTo>
                              <a:pt x="0" y="138"/>
                            </a:lnTo>
                            <a:lnTo>
                              <a:pt x="50" y="12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8" name="Freeform 2980"/>
                      <p:cNvSpPr>
                        <a:spLocks/>
                      </p:cNvSpPr>
                      <p:nvPr/>
                    </p:nvSpPr>
                    <p:spPr bwMode="auto">
                      <a:xfrm>
                        <a:off x="1706" y="1329"/>
                        <a:ext cx="130" cy="24"/>
                      </a:xfrm>
                      <a:custGeom>
                        <a:avLst/>
                        <a:gdLst/>
                        <a:ahLst/>
                        <a:cxnLst>
                          <a:cxn ang="0">
                            <a:pos x="92" y="14"/>
                          </a:cxn>
                          <a:cxn ang="0">
                            <a:pos x="130" y="0"/>
                          </a:cxn>
                          <a:cxn ang="0">
                            <a:pos x="98" y="6"/>
                          </a:cxn>
                          <a:cxn ang="0">
                            <a:pos x="90" y="8"/>
                          </a:cxn>
                          <a:cxn ang="0">
                            <a:pos x="70" y="12"/>
                          </a:cxn>
                          <a:cxn ang="0">
                            <a:pos x="0" y="24"/>
                          </a:cxn>
                          <a:cxn ang="0">
                            <a:pos x="92" y="14"/>
                          </a:cxn>
                        </a:cxnLst>
                        <a:rect l="0" t="0" r="r" b="b"/>
                        <a:pathLst>
                          <a:path w="130" h="24">
                            <a:moveTo>
                              <a:pt x="92" y="14"/>
                            </a:moveTo>
                            <a:lnTo>
                              <a:pt x="130" y="0"/>
                            </a:lnTo>
                            <a:lnTo>
                              <a:pt x="98" y="6"/>
                            </a:lnTo>
                            <a:lnTo>
                              <a:pt x="90" y="8"/>
                            </a:lnTo>
                            <a:lnTo>
                              <a:pt x="70" y="12"/>
                            </a:lnTo>
                            <a:lnTo>
                              <a:pt x="0" y="24"/>
                            </a:lnTo>
                            <a:lnTo>
                              <a:pt x="92" y="1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09" name="Freeform 2981"/>
                      <p:cNvSpPr>
                        <a:spLocks/>
                      </p:cNvSpPr>
                      <p:nvPr/>
                    </p:nvSpPr>
                    <p:spPr bwMode="auto">
                      <a:xfrm>
                        <a:off x="1868" y="875"/>
                        <a:ext cx="606" cy="476"/>
                      </a:xfrm>
                      <a:custGeom>
                        <a:avLst/>
                        <a:gdLst/>
                        <a:ahLst/>
                        <a:cxnLst>
                          <a:cxn ang="0">
                            <a:pos x="600" y="452"/>
                          </a:cxn>
                          <a:cxn ang="0">
                            <a:pos x="6" y="414"/>
                          </a:cxn>
                          <a:cxn ang="0">
                            <a:pos x="0" y="476"/>
                          </a:cxn>
                          <a:cxn ang="0">
                            <a:pos x="12" y="420"/>
                          </a:cxn>
                          <a:cxn ang="0">
                            <a:pos x="606" y="460"/>
                          </a:cxn>
                          <a:cxn ang="0">
                            <a:pos x="604" y="0"/>
                          </a:cxn>
                          <a:cxn ang="0">
                            <a:pos x="600" y="452"/>
                          </a:cxn>
                        </a:cxnLst>
                        <a:rect l="0" t="0" r="r" b="b"/>
                        <a:pathLst>
                          <a:path w="606" h="476">
                            <a:moveTo>
                              <a:pt x="600" y="452"/>
                            </a:moveTo>
                            <a:lnTo>
                              <a:pt x="6" y="414"/>
                            </a:lnTo>
                            <a:lnTo>
                              <a:pt x="0" y="476"/>
                            </a:lnTo>
                            <a:lnTo>
                              <a:pt x="12" y="420"/>
                            </a:lnTo>
                            <a:lnTo>
                              <a:pt x="606" y="460"/>
                            </a:lnTo>
                            <a:lnTo>
                              <a:pt x="604" y="0"/>
                            </a:lnTo>
                            <a:lnTo>
                              <a:pt x="600" y="45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0" name="Freeform 2982"/>
                      <p:cNvSpPr>
                        <a:spLocks/>
                      </p:cNvSpPr>
                      <p:nvPr/>
                    </p:nvSpPr>
                    <p:spPr bwMode="auto">
                      <a:xfrm>
                        <a:off x="2472" y="875"/>
                        <a:ext cx="614" cy="460"/>
                      </a:xfrm>
                      <a:custGeom>
                        <a:avLst/>
                        <a:gdLst/>
                        <a:ahLst/>
                        <a:cxnLst>
                          <a:cxn ang="0">
                            <a:pos x="612" y="358"/>
                          </a:cxn>
                          <a:cxn ang="0">
                            <a:pos x="614" y="354"/>
                          </a:cxn>
                          <a:cxn ang="0">
                            <a:pos x="2" y="356"/>
                          </a:cxn>
                          <a:cxn ang="0">
                            <a:pos x="6" y="2"/>
                          </a:cxn>
                          <a:cxn ang="0">
                            <a:pos x="0" y="0"/>
                          </a:cxn>
                          <a:cxn ang="0">
                            <a:pos x="2" y="460"/>
                          </a:cxn>
                          <a:cxn ang="0">
                            <a:pos x="2" y="360"/>
                          </a:cxn>
                          <a:cxn ang="0">
                            <a:pos x="612" y="358"/>
                          </a:cxn>
                        </a:cxnLst>
                        <a:rect l="0" t="0" r="r" b="b"/>
                        <a:pathLst>
                          <a:path w="614" h="460">
                            <a:moveTo>
                              <a:pt x="612" y="358"/>
                            </a:moveTo>
                            <a:lnTo>
                              <a:pt x="614" y="354"/>
                            </a:lnTo>
                            <a:lnTo>
                              <a:pt x="2" y="356"/>
                            </a:lnTo>
                            <a:lnTo>
                              <a:pt x="6" y="2"/>
                            </a:lnTo>
                            <a:lnTo>
                              <a:pt x="0" y="0"/>
                            </a:lnTo>
                            <a:lnTo>
                              <a:pt x="2" y="460"/>
                            </a:lnTo>
                            <a:lnTo>
                              <a:pt x="2" y="360"/>
                            </a:lnTo>
                            <a:lnTo>
                              <a:pt x="612" y="35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1" name="Freeform 2983"/>
                      <p:cNvSpPr>
                        <a:spLocks/>
                      </p:cNvSpPr>
                      <p:nvPr/>
                    </p:nvSpPr>
                    <p:spPr bwMode="auto">
                      <a:xfrm>
                        <a:off x="1804" y="1325"/>
                        <a:ext cx="62" cy="42"/>
                      </a:xfrm>
                      <a:custGeom>
                        <a:avLst/>
                        <a:gdLst/>
                        <a:ahLst/>
                        <a:cxnLst>
                          <a:cxn ang="0">
                            <a:pos x="0" y="10"/>
                          </a:cxn>
                          <a:cxn ang="0">
                            <a:pos x="32" y="4"/>
                          </a:cxn>
                          <a:cxn ang="0">
                            <a:pos x="60" y="42"/>
                          </a:cxn>
                          <a:cxn ang="0">
                            <a:pos x="62" y="34"/>
                          </a:cxn>
                          <a:cxn ang="0">
                            <a:pos x="36" y="0"/>
                          </a:cxn>
                          <a:cxn ang="0">
                            <a:pos x="0" y="10"/>
                          </a:cxn>
                        </a:cxnLst>
                        <a:rect l="0" t="0" r="r" b="b"/>
                        <a:pathLst>
                          <a:path w="62" h="42">
                            <a:moveTo>
                              <a:pt x="0" y="10"/>
                            </a:moveTo>
                            <a:lnTo>
                              <a:pt x="32" y="4"/>
                            </a:lnTo>
                            <a:lnTo>
                              <a:pt x="60" y="42"/>
                            </a:lnTo>
                            <a:lnTo>
                              <a:pt x="62" y="34"/>
                            </a:lnTo>
                            <a:lnTo>
                              <a:pt x="36" y="0"/>
                            </a:lnTo>
                            <a:lnTo>
                              <a:pt x="0" y="1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2" name="Freeform 2984"/>
                      <p:cNvSpPr>
                        <a:spLocks/>
                      </p:cNvSpPr>
                      <p:nvPr/>
                    </p:nvSpPr>
                    <p:spPr bwMode="auto">
                      <a:xfrm>
                        <a:off x="1866" y="1351"/>
                        <a:ext cx="2" cy="10"/>
                      </a:xfrm>
                      <a:custGeom>
                        <a:avLst/>
                        <a:gdLst/>
                        <a:ahLst/>
                        <a:cxnLst>
                          <a:cxn ang="0">
                            <a:pos x="0" y="10"/>
                          </a:cxn>
                          <a:cxn ang="0">
                            <a:pos x="2" y="0"/>
                          </a:cxn>
                          <a:cxn ang="0">
                            <a:pos x="0" y="8"/>
                          </a:cxn>
                          <a:cxn ang="0">
                            <a:pos x="0" y="10"/>
                          </a:cxn>
                        </a:cxnLst>
                        <a:rect l="0" t="0" r="r" b="b"/>
                        <a:pathLst>
                          <a:path w="2" h="10">
                            <a:moveTo>
                              <a:pt x="0" y="10"/>
                            </a:moveTo>
                            <a:lnTo>
                              <a:pt x="2" y="0"/>
                            </a:lnTo>
                            <a:lnTo>
                              <a:pt x="0" y="8"/>
                            </a:lnTo>
                            <a:lnTo>
                              <a:pt x="0" y="1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3" name="Freeform 2985"/>
                      <p:cNvSpPr>
                        <a:spLocks/>
                      </p:cNvSpPr>
                      <p:nvPr/>
                    </p:nvSpPr>
                    <p:spPr bwMode="auto">
                      <a:xfrm>
                        <a:off x="1776" y="1335"/>
                        <a:ext cx="28" cy="6"/>
                      </a:xfrm>
                      <a:custGeom>
                        <a:avLst/>
                        <a:gdLst/>
                        <a:ahLst/>
                        <a:cxnLst>
                          <a:cxn ang="0">
                            <a:pos x="28" y="0"/>
                          </a:cxn>
                          <a:cxn ang="0">
                            <a:pos x="0" y="6"/>
                          </a:cxn>
                          <a:cxn ang="0">
                            <a:pos x="20" y="2"/>
                          </a:cxn>
                          <a:cxn ang="0">
                            <a:pos x="28" y="0"/>
                          </a:cxn>
                        </a:cxnLst>
                        <a:rect l="0" t="0" r="r" b="b"/>
                        <a:pathLst>
                          <a:path w="28" h="6">
                            <a:moveTo>
                              <a:pt x="28" y="0"/>
                            </a:moveTo>
                            <a:lnTo>
                              <a:pt x="0" y="6"/>
                            </a:lnTo>
                            <a:lnTo>
                              <a:pt x="20" y="2"/>
                            </a:lnTo>
                            <a:lnTo>
                              <a:pt x="2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4" name="Freeform 2986"/>
                      <p:cNvSpPr>
                        <a:spLocks/>
                      </p:cNvSpPr>
                      <p:nvPr/>
                    </p:nvSpPr>
                    <p:spPr bwMode="auto">
                      <a:xfrm>
                        <a:off x="1340" y="709"/>
                        <a:ext cx="524" cy="966"/>
                      </a:xfrm>
                      <a:custGeom>
                        <a:avLst/>
                        <a:gdLst/>
                        <a:ahLst/>
                        <a:cxnLst>
                          <a:cxn ang="0">
                            <a:pos x="458" y="634"/>
                          </a:cxn>
                          <a:cxn ang="0">
                            <a:pos x="366" y="644"/>
                          </a:cxn>
                          <a:cxn ang="0">
                            <a:pos x="294" y="536"/>
                          </a:cxn>
                          <a:cxn ang="0">
                            <a:pos x="304" y="474"/>
                          </a:cxn>
                          <a:cxn ang="0">
                            <a:pos x="254" y="486"/>
                          </a:cxn>
                          <a:cxn ang="0">
                            <a:pos x="284" y="348"/>
                          </a:cxn>
                          <a:cxn ang="0">
                            <a:pos x="256" y="334"/>
                          </a:cxn>
                          <a:cxn ang="0">
                            <a:pos x="184" y="168"/>
                          </a:cxn>
                          <a:cxn ang="0">
                            <a:pos x="210" y="24"/>
                          </a:cxn>
                          <a:cxn ang="0">
                            <a:pos x="212" y="26"/>
                          </a:cxn>
                          <a:cxn ang="0">
                            <a:pos x="214" y="22"/>
                          </a:cxn>
                          <a:cxn ang="0">
                            <a:pos x="136" y="0"/>
                          </a:cxn>
                          <a:cxn ang="0">
                            <a:pos x="136" y="2"/>
                          </a:cxn>
                          <a:cxn ang="0">
                            <a:pos x="140" y="4"/>
                          </a:cxn>
                          <a:cxn ang="0">
                            <a:pos x="78" y="344"/>
                          </a:cxn>
                          <a:cxn ang="0">
                            <a:pos x="108" y="438"/>
                          </a:cxn>
                          <a:cxn ang="0">
                            <a:pos x="40" y="574"/>
                          </a:cxn>
                          <a:cxn ang="0">
                            <a:pos x="50" y="600"/>
                          </a:cxn>
                          <a:cxn ang="0">
                            <a:pos x="0" y="866"/>
                          </a:cxn>
                          <a:cxn ang="0">
                            <a:pos x="496" y="966"/>
                          </a:cxn>
                          <a:cxn ang="0">
                            <a:pos x="524" y="658"/>
                          </a:cxn>
                          <a:cxn ang="0">
                            <a:pos x="496" y="620"/>
                          </a:cxn>
                          <a:cxn ang="0">
                            <a:pos x="458" y="634"/>
                          </a:cxn>
                        </a:cxnLst>
                        <a:rect l="0" t="0" r="r" b="b"/>
                        <a:pathLst>
                          <a:path w="524" h="966">
                            <a:moveTo>
                              <a:pt x="458" y="634"/>
                            </a:moveTo>
                            <a:lnTo>
                              <a:pt x="366" y="644"/>
                            </a:lnTo>
                            <a:lnTo>
                              <a:pt x="294" y="536"/>
                            </a:lnTo>
                            <a:lnTo>
                              <a:pt x="304" y="474"/>
                            </a:lnTo>
                            <a:lnTo>
                              <a:pt x="254" y="486"/>
                            </a:lnTo>
                            <a:lnTo>
                              <a:pt x="284" y="348"/>
                            </a:lnTo>
                            <a:lnTo>
                              <a:pt x="256" y="334"/>
                            </a:lnTo>
                            <a:lnTo>
                              <a:pt x="184" y="168"/>
                            </a:lnTo>
                            <a:lnTo>
                              <a:pt x="210" y="24"/>
                            </a:lnTo>
                            <a:lnTo>
                              <a:pt x="212" y="26"/>
                            </a:lnTo>
                            <a:lnTo>
                              <a:pt x="214" y="22"/>
                            </a:lnTo>
                            <a:lnTo>
                              <a:pt x="136" y="0"/>
                            </a:lnTo>
                            <a:lnTo>
                              <a:pt x="136" y="2"/>
                            </a:lnTo>
                            <a:lnTo>
                              <a:pt x="140" y="4"/>
                            </a:lnTo>
                            <a:lnTo>
                              <a:pt x="78" y="344"/>
                            </a:lnTo>
                            <a:lnTo>
                              <a:pt x="108" y="438"/>
                            </a:lnTo>
                            <a:lnTo>
                              <a:pt x="40" y="574"/>
                            </a:lnTo>
                            <a:lnTo>
                              <a:pt x="50" y="600"/>
                            </a:lnTo>
                            <a:lnTo>
                              <a:pt x="0" y="866"/>
                            </a:lnTo>
                            <a:lnTo>
                              <a:pt x="496" y="966"/>
                            </a:lnTo>
                            <a:lnTo>
                              <a:pt x="524" y="658"/>
                            </a:lnTo>
                            <a:lnTo>
                              <a:pt x="496" y="620"/>
                            </a:lnTo>
                            <a:lnTo>
                              <a:pt x="458" y="63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5" name="Freeform 2987"/>
                      <p:cNvSpPr>
                        <a:spLocks/>
                      </p:cNvSpPr>
                      <p:nvPr/>
                    </p:nvSpPr>
                    <p:spPr bwMode="auto">
                      <a:xfrm>
                        <a:off x="3108" y="1621"/>
                        <a:ext cx="118" cy="318"/>
                      </a:xfrm>
                      <a:custGeom>
                        <a:avLst/>
                        <a:gdLst/>
                        <a:ahLst/>
                        <a:cxnLst>
                          <a:cxn ang="0">
                            <a:pos x="94" y="254"/>
                          </a:cxn>
                          <a:cxn ang="0">
                            <a:pos x="94" y="256"/>
                          </a:cxn>
                          <a:cxn ang="0">
                            <a:pos x="96" y="256"/>
                          </a:cxn>
                          <a:cxn ang="0">
                            <a:pos x="118" y="318"/>
                          </a:cxn>
                          <a:cxn ang="0">
                            <a:pos x="0" y="0"/>
                          </a:cxn>
                          <a:cxn ang="0">
                            <a:pos x="94" y="254"/>
                          </a:cxn>
                          <a:cxn ang="0">
                            <a:pos x="94" y="254"/>
                          </a:cxn>
                        </a:cxnLst>
                        <a:rect l="0" t="0" r="r" b="b"/>
                        <a:pathLst>
                          <a:path w="118" h="318">
                            <a:moveTo>
                              <a:pt x="94" y="254"/>
                            </a:moveTo>
                            <a:lnTo>
                              <a:pt x="94" y="256"/>
                            </a:lnTo>
                            <a:lnTo>
                              <a:pt x="96" y="256"/>
                            </a:lnTo>
                            <a:lnTo>
                              <a:pt x="118" y="318"/>
                            </a:lnTo>
                            <a:lnTo>
                              <a:pt x="0" y="0"/>
                            </a:lnTo>
                            <a:lnTo>
                              <a:pt x="94" y="254"/>
                            </a:lnTo>
                            <a:lnTo>
                              <a:pt x="94" y="25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6" name="Freeform 2988"/>
                      <p:cNvSpPr>
                        <a:spLocks/>
                      </p:cNvSpPr>
                      <p:nvPr/>
                    </p:nvSpPr>
                    <p:spPr bwMode="auto">
                      <a:xfrm>
                        <a:off x="3098" y="1295"/>
                        <a:ext cx="10" cy="326"/>
                      </a:xfrm>
                      <a:custGeom>
                        <a:avLst/>
                        <a:gdLst/>
                        <a:ahLst/>
                        <a:cxnLst>
                          <a:cxn ang="0">
                            <a:pos x="6" y="188"/>
                          </a:cxn>
                          <a:cxn ang="0">
                            <a:pos x="6" y="188"/>
                          </a:cxn>
                          <a:cxn ang="0">
                            <a:pos x="10" y="326"/>
                          </a:cxn>
                          <a:cxn ang="0">
                            <a:pos x="0" y="0"/>
                          </a:cxn>
                          <a:cxn ang="0">
                            <a:pos x="6" y="186"/>
                          </a:cxn>
                          <a:cxn ang="0">
                            <a:pos x="6" y="188"/>
                          </a:cxn>
                        </a:cxnLst>
                        <a:rect l="0" t="0" r="r" b="b"/>
                        <a:pathLst>
                          <a:path w="10" h="326">
                            <a:moveTo>
                              <a:pt x="6" y="188"/>
                            </a:moveTo>
                            <a:lnTo>
                              <a:pt x="6" y="188"/>
                            </a:lnTo>
                            <a:lnTo>
                              <a:pt x="10" y="326"/>
                            </a:lnTo>
                            <a:lnTo>
                              <a:pt x="0" y="0"/>
                            </a:lnTo>
                            <a:lnTo>
                              <a:pt x="6" y="186"/>
                            </a:lnTo>
                            <a:lnTo>
                              <a:pt x="6" y="18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7" name="Freeform 2989"/>
                      <p:cNvSpPr>
                        <a:spLocks/>
                      </p:cNvSpPr>
                      <p:nvPr/>
                    </p:nvSpPr>
                    <p:spPr bwMode="auto">
                      <a:xfrm>
                        <a:off x="2468" y="877"/>
                        <a:ext cx="648" cy="972"/>
                      </a:xfrm>
                      <a:custGeom>
                        <a:avLst/>
                        <a:gdLst/>
                        <a:ahLst/>
                        <a:cxnLst>
                          <a:cxn ang="0">
                            <a:pos x="478" y="708"/>
                          </a:cxn>
                          <a:cxn ang="0">
                            <a:pos x="648" y="766"/>
                          </a:cxn>
                          <a:cxn ang="0">
                            <a:pos x="646" y="758"/>
                          </a:cxn>
                          <a:cxn ang="0">
                            <a:pos x="478" y="704"/>
                          </a:cxn>
                          <a:cxn ang="0">
                            <a:pos x="4" y="706"/>
                          </a:cxn>
                          <a:cxn ang="0">
                            <a:pos x="8" y="458"/>
                          </a:cxn>
                          <a:cxn ang="0">
                            <a:pos x="6" y="458"/>
                          </a:cxn>
                          <a:cxn ang="0">
                            <a:pos x="6" y="358"/>
                          </a:cxn>
                          <a:cxn ang="0">
                            <a:pos x="616" y="356"/>
                          </a:cxn>
                          <a:cxn ang="0">
                            <a:pos x="618" y="352"/>
                          </a:cxn>
                          <a:cxn ang="0">
                            <a:pos x="6" y="354"/>
                          </a:cxn>
                          <a:cxn ang="0">
                            <a:pos x="10" y="0"/>
                          </a:cxn>
                          <a:cxn ang="0">
                            <a:pos x="8" y="0"/>
                          </a:cxn>
                          <a:cxn ang="0">
                            <a:pos x="0" y="972"/>
                          </a:cxn>
                          <a:cxn ang="0">
                            <a:pos x="4" y="710"/>
                          </a:cxn>
                          <a:cxn ang="0">
                            <a:pos x="478" y="708"/>
                          </a:cxn>
                        </a:cxnLst>
                        <a:rect l="0" t="0" r="r" b="b"/>
                        <a:pathLst>
                          <a:path w="648" h="972">
                            <a:moveTo>
                              <a:pt x="478" y="708"/>
                            </a:moveTo>
                            <a:lnTo>
                              <a:pt x="648" y="766"/>
                            </a:lnTo>
                            <a:lnTo>
                              <a:pt x="646" y="758"/>
                            </a:lnTo>
                            <a:lnTo>
                              <a:pt x="478" y="704"/>
                            </a:lnTo>
                            <a:lnTo>
                              <a:pt x="4" y="706"/>
                            </a:lnTo>
                            <a:lnTo>
                              <a:pt x="8" y="458"/>
                            </a:lnTo>
                            <a:lnTo>
                              <a:pt x="6" y="458"/>
                            </a:lnTo>
                            <a:lnTo>
                              <a:pt x="6" y="358"/>
                            </a:lnTo>
                            <a:lnTo>
                              <a:pt x="616" y="356"/>
                            </a:lnTo>
                            <a:lnTo>
                              <a:pt x="618" y="352"/>
                            </a:lnTo>
                            <a:lnTo>
                              <a:pt x="6" y="354"/>
                            </a:lnTo>
                            <a:lnTo>
                              <a:pt x="10" y="0"/>
                            </a:lnTo>
                            <a:lnTo>
                              <a:pt x="8" y="0"/>
                            </a:lnTo>
                            <a:lnTo>
                              <a:pt x="0" y="972"/>
                            </a:lnTo>
                            <a:lnTo>
                              <a:pt x="4" y="710"/>
                            </a:lnTo>
                            <a:lnTo>
                              <a:pt x="478" y="70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8" name="Freeform 2990"/>
                      <p:cNvSpPr>
                        <a:spLocks/>
                      </p:cNvSpPr>
                      <p:nvPr/>
                    </p:nvSpPr>
                    <p:spPr bwMode="auto">
                      <a:xfrm>
                        <a:off x="2632" y="1939"/>
                        <a:ext cx="602" cy="8"/>
                      </a:xfrm>
                      <a:custGeom>
                        <a:avLst/>
                        <a:gdLst/>
                        <a:ahLst/>
                        <a:cxnLst>
                          <a:cxn ang="0">
                            <a:pos x="602" y="6"/>
                          </a:cxn>
                          <a:cxn ang="0">
                            <a:pos x="594" y="0"/>
                          </a:cxn>
                          <a:cxn ang="0">
                            <a:pos x="0" y="8"/>
                          </a:cxn>
                          <a:cxn ang="0">
                            <a:pos x="602" y="6"/>
                          </a:cxn>
                        </a:cxnLst>
                        <a:rect l="0" t="0" r="r" b="b"/>
                        <a:pathLst>
                          <a:path w="602" h="8">
                            <a:moveTo>
                              <a:pt x="602" y="6"/>
                            </a:moveTo>
                            <a:lnTo>
                              <a:pt x="594" y="0"/>
                            </a:lnTo>
                            <a:lnTo>
                              <a:pt x="0" y="8"/>
                            </a:lnTo>
                            <a:lnTo>
                              <a:pt x="602"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19" name="Freeform 2991"/>
                      <p:cNvSpPr>
                        <a:spLocks/>
                      </p:cNvSpPr>
                      <p:nvPr/>
                    </p:nvSpPr>
                    <p:spPr bwMode="auto">
                      <a:xfrm>
                        <a:off x="3014" y="847"/>
                        <a:ext cx="74" cy="378"/>
                      </a:xfrm>
                      <a:custGeom>
                        <a:avLst/>
                        <a:gdLst/>
                        <a:ahLst/>
                        <a:cxnLst>
                          <a:cxn ang="0">
                            <a:pos x="74" y="378"/>
                          </a:cxn>
                          <a:cxn ang="0">
                            <a:pos x="2" y="0"/>
                          </a:cxn>
                          <a:cxn ang="0">
                            <a:pos x="0" y="0"/>
                          </a:cxn>
                          <a:cxn ang="0">
                            <a:pos x="74" y="378"/>
                          </a:cxn>
                        </a:cxnLst>
                        <a:rect l="0" t="0" r="r" b="b"/>
                        <a:pathLst>
                          <a:path w="74" h="378">
                            <a:moveTo>
                              <a:pt x="74" y="378"/>
                            </a:moveTo>
                            <a:lnTo>
                              <a:pt x="2" y="0"/>
                            </a:lnTo>
                            <a:lnTo>
                              <a:pt x="0" y="0"/>
                            </a:lnTo>
                            <a:lnTo>
                              <a:pt x="74" y="37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0" name="Freeform 2992"/>
                      <p:cNvSpPr>
                        <a:spLocks/>
                      </p:cNvSpPr>
                      <p:nvPr/>
                    </p:nvSpPr>
                    <p:spPr bwMode="auto">
                      <a:xfrm>
                        <a:off x="1529" y="729"/>
                        <a:ext cx="944" cy="628"/>
                      </a:xfrm>
                      <a:custGeom>
                        <a:avLst/>
                        <a:gdLst/>
                        <a:ahLst/>
                        <a:cxnLst>
                          <a:cxn ang="0">
                            <a:pos x="260" y="62"/>
                          </a:cxn>
                          <a:cxn ang="0">
                            <a:pos x="22" y="0"/>
                          </a:cxn>
                          <a:cxn ang="0">
                            <a:pos x="20" y="4"/>
                          </a:cxn>
                          <a:cxn ang="0">
                            <a:pos x="24" y="4"/>
                          </a:cxn>
                          <a:cxn ang="0">
                            <a:pos x="0" y="148"/>
                          </a:cxn>
                          <a:cxn ang="0">
                            <a:pos x="66" y="306"/>
                          </a:cxn>
                          <a:cxn ang="0">
                            <a:pos x="100" y="326"/>
                          </a:cxn>
                          <a:cxn ang="0">
                            <a:pos x="70" y="456"/>
                          </a:cxn>
                          <a:cxn ang="0">
                            <a:pos x="118" y="444"/>
                          </a:cxn>
                          <a:cxn ang="0">
                            <a:pos x="110" y="514"/>
                          </a:cxn>
                          <a:cxn ang="0">
                            <a:pos x="180" y="618"/>
                          </a:cxn>
                          <a:cxn ang="0">
                            <a:pos x="244" y="610"/>
                          </a:cxn>
                          <a:cxn ang="0">
                            <a:pos x="272" y="604"/>
                          </a:cxn>
                          <a:cxn ang="0">
                            <a:pos x="308" y="594"/>
                          </a:cxn>
                          <a:cxn ang="0">
                            <a:pos x="334" y="628"/>
                          </a:cxn>
                          <a:cxn ang="0">
                            <a:pos x="336" y="620"/>
                          </a:cxn>
                          <a:cxn ang="0">
                            <a:pos x="342" y="558"/>
                          </a:cxn>
                          <a:cxn ang="0">
                            <a:pos x="936" y="596"/>
                          </a:cxn>
                          <a:cxn ang="0">
                            <a:pos x="940" y="144"/>
                          </a:cxn>
                          <a:cxn ang="0">
                            <a:pos x="944" y="146"/>
                          </a:cxn>
                          <a:cxn ang="0">
                            <a:pos x="944" y="140"/>
                          </a:cxn>
                          <a:cxn ang="0">
                            <a:pos x="260" y="62"/>
                          </a:cxn>
                        </a:cxnLst>
                        <a:rect l="0" t="0" r="r" b="b"/>
                        <a:pathLst>
                          <a:path w="944" h="628">
                            <a:moveTo>
                              <a:pt x="260" y="62"/>
                            </a:moveTo>
                            <a:lnTo>
                              <a:pt x="22" y="0"/>
                            </a:lnTo>
                            <a:lnTo>
                              <a:pt x="20" y="4"/>
                            </a:lnTo>
                            <a:lnTo>
                              <a:pt x="24" y="4"/>
                            </a:lnTo>
                            <a:lnTo>
                              <a:pt x="0" y="148"/>
                            </a:lnTo>
                            <a:lnTo>
                              <a:pt x="66" y="306"/>
                            </a:lnTo>
                            <a:lnTo>
                              <a:pt x="100" y="326"/>
                            </a:lnTo>
                            <a:lnTo>
                              <a:pt x="70" y="456"/>
                            </a:lnTo>
                            <a:lnTo>
                              <a:pt x="118" y="444"/>
                            </a:lnTo>
                            <a:lnTo>
                              <a:pt x="110" y="514"/>
                            </a:lnTo>
                            <a:lnTo>
                              <a:pt x="180" y="618"/>
                            </a:lnTo>
                            <a:lnTo>
                              <a:pt x="244" y="610"/>
                            </a:lnTo>
                            <a:lnTo>
                              <a:pt x="272" y="604"/>
                            </a:lnTo>
                            <a:lnTo>
                              <a:pt x="308" y="594"/>
                            </a:lnTo>
                            <a:lnTo>
                              <a:pt x="334" y="628"/>
                            </a:lnTo>
                            <a:lnTo>
                              <a:pt x="336" y="620"/>
                            </a:lnTo>
                            <a:lnTo>
                              <a:pt x="342" y="558"/>
                            </a:lnTo>
                            <a:lnTo>
                              <a:pt x="936" y="596"/>
                            </a:lnTo>
                            <a:lnTo>
                              <a:pt x="940" y="144"/>
                            </a:lnTo>
                            <a:lnTo>
                              <a:pt x="944" y="146"/>
                            </a:lnTo>
                            <a:lnTo>
                              <a:pt x="944" y="140"/>
                            </a:lnTo>
                            <a:lnTo>
                              <a:pt x="260" y="6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1" name="Freeform 2993"/>
                      <p:cNvSpPr>
                        <a:spLocks/>
                      </p:cNvSpPr>
                      <p:nvPr/>
                    </p:nvSpPr>
                    <p:spPr bwMode="auto">
                      <a:xfrm>
                        <a:off x="2946" y="1581"/>
                        <a:ext cx="168" cy="56"/>
                      </a:xfrm>
                      <a:custGeom>
                        <a:avLst/>
                        <a:gdLst/>
                        <a:ahLst/>
                        <a:cxnLst>
                          <a:cxn ang="0">
                            <a:pos x="0" y="0"/>
                          </a:cxn>
                          <a:cxn ang="0">
                            <a:pos x="168" y="56"/>
                          </a:cxn>
                          <a:cxn ang="0">
                            <a:pos x="168" y="54"/>
                          </a:cxn>
                          <a:cxn ang="0">
                            <a:pos x="0" y="0"/>
                          </a:cxn>
                        </a:cxnLst>
                        <a:rect l="0" t="0" r="r" b="b"/>
                        <a:pathLst>
                          <a:path w="168" h="56">
                            <a:moveTo>
                              <a:pt x="0" y="0"/>
                            </a:moveTo>
                            <a:lnTo>
                              <a:pt x="168" y="56"/>
                            </a:lnTo>
                            <a:lnTo>
                              <a:pt x="168" y="54"/>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2" name="Freeform 2994"/>
                      <p:cNvSpPr>
                        <a:spLocks/>
                      </p:cNvSpPr>
                      <p:nvPr/>
                    </p:nvSpPr>
                    <p:spPr bwMode="auto">
                      <a:xfrm>
                        <a:off x="2474" y="843"/>
                        <a:ext cx="614" cy="388"/>
                      </a:xfrm>
                      <a:custGeom>
                        <a:avLst/>
                        <a:gdLst/>
                        <a:ahLst/>
                        <a:cxnLst>
                          <a:cxn ang="0">
                            <a:pos x="614" y="382"/>
                          </a:cxn>
                          <a:cxn ang="0">
                            <a:pos x="540" y="4"/>
                          </a:cxn>
                          <a:cxn ang="0">
                            <a:pos x="542" y="4"/>
                          </a:cxn>
                          <a:cxn ang="0">
                            <a:pos x="542" y="0"/>
                          </a:cxn>
                          <a:cxn ang="0">
                            <a:pos x="26" y="32"/>
                          </a:cxn>
                          <a:cxn ang="0">
                            <a:pos x="2" y="28"/>
                          </a:cxn>
                          <a:cxn ang="0">
                            <a:pos x="2" y="34"/>
                          </a:cxn>
                          <a:cxn ang="0">
                            <a:pos x="4" y="34"/>
                          </a:cxn>
                          <a:cxn ang="0">
                            <a:pos x="0" y="388"/>
                          </a:cxn>
                          <a:cxn ang="0">
                            <a:pos x="612" y="386"/>
                          </a:cxn>
                          <a:cxn ang="0">
                            <a:pos x="610" y="388"/>
                          </a:cxn>
                          <a:cxn ang="0">
                            <a:pos x="610" y="388"/>
                          </a:cxn>
                          <a:cxn ang="0">
                            <a:pos x="614" y="382"/>
                          </a:cxn>
                        </a:cxnLst>
                        <a:rect l="0" t="0" r="r" b="b"/>
                        <a:pathLst>
                          <a:path w="614" h="388">
                            <a:moveTo>
                              <a:pt x="614" y="382"/>
                            </a:moveTo>
                            <a:lnTo>
                              <a:pt x="540" y="4"/>
                            </a:lnTo>
                            <a:lnTo>
                              <a:pt x="542" y="4"/>
                            </a:lnTo>
                            <a:lnTo>
                              <a:pt x="542" y="0"/>
                            </a:lnTo>
                            <a:lnTo>
                              <a:pt x="26" y="32"/>
                            </a:lnTo>
                            <a:lnTo>
                              <a:pt x="2" y="28"/>
                            </a:lnTo>
                            <a:lnTo>
                              <a:pt x="2" y="34"/>
                            </a:lnTo>
                            <a:lnTo>
                              <a:pt x="4" y="34"/>
                            </a:lnTo>
                            <a:lnTo>
                              <a:pt x="0" y="388"/>
                            </a:lnTo>
                            <a:lnTo>
                              <a:pt x="612" y="386"/>
                            </a:lnTo>
                            <a:lnTo>
                              <a:pt x="610" y="388"/>
                            </a:lnTo>
                            <a:lnTo>
                              <a:pt x="610" y="388"/>
                            </a:lnTo>
                            <a:lnTo>
                              <a:pt x="614" y="38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3" name="Freeform 2995"/>
                      <p:cNvSpPr>
                        <a:spLocks/>
                      </p:cNvSpPr>
                      <p:nvPr/>
                    </p:nvSpPr>
                    <p:spPr bwMode="auto">
                      <a:xfrm>
                        <a:off x="2468" y="1585"/>
                        <a:ext cx="758" cy="362"/>
                      </a:xfrm>
                      <a:custGeom>
                        <a:avLst/>
                        <a:gdLst/>
                        <a:ahLst/>
                        <a:cxnLst>
                          <a:cxn ang="0">
                            <a:pos x="736" y="292"/>
                          </a:cxn>
                          <a:cxn ang="0">
                            <a:pos x="734" y="292"/>
                          </a:cxn>
                          <a:cxn ang="0">
                            <a:pos x="734" y="290"/>
                          </a:cxn>
                          <a:cxn ang="0">
                            <a:pos x="734" y="290"/>
                          </a:cxn>
                          <a:cxn ang="0">
                            <a:pos x="646" y="52"/>
                          </a:cxn>
                          <a:cxn ang="0">
                            <a:pos x="646" y="52"/>
                          </a:cxn>
                          <a:cxn ang="0">
                            <a:pos x="648" y="58"/>
                          </a:cxn>
                          <a:cxn ang="0">
                            <a:pos x="478" y="0"/>
                          </a:cxn>
                          <a:cxn ang="0">
                            <a:pos x="4" y="2"/>
                          </a:cxn>
                          <a:cxn ang="0">
                            <a:pos x="0" y="264"/>
                          </a:cxn>
                          <a:cxn ang="0">
                            <a:pos x="158" y="268"/>
                          </a:cxn>
                          <a:cxn ang="0">
                            <a:pos x="164" y="362"/>
                          </a:cxn>
                          <a:cxn ang="0">
                            <a:pos x="758" y="354"/>
                          </a:cxn>
                          <a:cxn ang="0">
                            <a:pos x="736" y="292"/>
                          </a:cxn>
                        </a:cxnLst>
                        <a:rect l="0" t="0" r="r" b="b"/>
                        <a:pathLst>
                          <a:path w="758" h="362">
                            <a:moveTo>
                              <a:pt x="736" y="292"/>
                            </a:moveTo>
                            <a:lnTo>
                              <a:pt x="734" y="292"/>
                            </a:lnTo>
                            <a:lnTo>
                              <a:pt x="734" y="290"/>
                            </a:lnTo>
                            <a:lnTo>
                              <a:pt x="734" y="290"/>
                            </a:lnTo>
                            <a:lnTo>
                              <a:pt x="646" y="52"/>
                            </a:lnTo>
                            <a:lnTo>
                              <a:pt x="646" y="52"/>
                            </a:lnTo>
                            <a:lnTo>
                              <a:pt x="648" y="58"/>
                            </a:lnTo>
                            <a:lnTo>
                              <a:pt x="478" y="0"/>
                            </a:lnTo>
                            <a:lnTo>
                              <a:pt x="4" y="2"/>
                            </a:lnTo>
                            <a:lnTo>
                              <a:pt x="0" y="264"/>
                            </a:lnTo>
                            <a:lnTo>
                              <a:pt x="158" y="268"/>
                            </a:lnTo>
                            <a:lnTo>
                              <a:pt x="164" y="362"/>
                            </a:lnTo>
                            <a:lnTo>
                              <a:pt x="758" y="354"/>
                            </a:lnTo>
                            <a:lnTo>
                              <a:pt x="736" y="29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4" name="Freeform 2996"/>
                      <p:cNvSpPr>
                        <a:spLocks/>
                      </p:cNvSpPr>
                      <p:nvPr/>
                    </p:nvSpPr>
                    <p:spPr bwMode="auto">
                      <a:xfrm>
                        <a:off x="2472" y="1231"/>
                        <a:ext cx="642" cy="406"/>
                      </a:xfrm>
                      <a:custGeom>
                        <a:avLst/>
                        <a:gdLst/>
                        <a:ahLst/>
                        <a:cxnLst>
                          <a:cxn ang="0">
                            <a:pos x="636" y="390"/>
                          </a:cxn>
                          <a:cxn ang="0">
                            <a:pos x="632" y="252"/>
                          </a:cxn>
                          <a:cxn ang="0">
                            <a:pos x="632" y="252"/>
                          </a:cxn>
                          <a:cxn ang="0">
                            <a:pos x="632" y="250"/>
                          </a:cxn>
                          <a:cxn ang="0">
                            <a:pos x="626" y="64"/>
                          </a:cxn>
                          <a:cxn ang="0">
                            <a:pos x="596" y="26"/>
                          </a:cxn>
                          <a:cxn ang="0">
                            <a:pos x="612" y="0"/>
                          </a:cxn>
                          <a:cxn ang="0">
                            <a:pos x="612" y="0"/>
                          </a:cxn>
                          <a:cxn ang="0">
                            <a:pos x="612" y="2"/>
                          </a:cxn>
                          <a:cxn ang="0">
                            <a:pos x="2" y="4"/>
                          </a:cxn>
                          <a:cxn ang="0">
                            <a:pos x="2" y="104"/>
                          </a:cxn>
                          <a:cxn ang="0">
                            <a:pos x="4" y="104"/>
                          </a:cxn>
                          <a:cxn ang="0">
                            <a:pos x="0" y="352"/>
                          </a:cxn>
                          <a:cxn ang="0">
                            <a:pos x="474" y="350"/>
                          </a:cxn>
                          <a:cxn ang="0">
                            <a:pos x="642" y="404"/>
                          </a:cxn>
                          <a:cxn ang="0">
                            <a:pos x="642" y="406"/>
                          </a:cxn>
                          <a:cxn ang="0">
                            <a:pos x="642" y="406"/>
                          </a:cxn>
                          <a:cxn ang="0">
                            <a:pos x="636" y="390"/>
                          </a:cxn>
                        </a:cxnLst>
                        <a:rect l="0" t="0" r="r" b="b"/>
                        <a:pathLst>
                          <a:path w="642" h="406">
                            <a:moveTo>
                              <a:pt x="636" y="390"/>
                            </a:moveTo>
                            <a:lnTo>
                              <a:pt x="632" y="252"/>
                            </a:lnTo>
                            <a:lnTo>
                              <a:pt x="632" y="252"/>
                            </a:lnTo>
                            <a:lnTo>
                              <a:pt x="632" y="250"/>
                            </a:lnTo>
                            <a:lnTo>
                              <a:pt x="626" y="64"/>
                            </a:lnTo>
                            <a:lnTo>
                              <a:pt x="596" y="26"/>
                            </a:lnTo>
                            <a:lnTo>
                              <a:pt x="612" y="0"/>
                            </a:lnTo>
                            <a:lnTo>
                              <a:pt x="612" y="0"/>
                            </a:lnTo>
                            <a:lnTo>
                              <a:pt x="612" y="2"/>
                            </a:lnTo>
                            <a:lnTo>
                              <a:pt x="2" y="4"/>
                            </a:lnTo>
                            <a:lnTo>
                              <a:pt x="2" y="104"/>
                            </a:lnTo>
                            <a:lnTo>
                              <a:pt x="4" y="104"/>
                            </a:lnTo>
                            <a:lnTo>
                              <a:pt x="0" y="352"/>
                            </a:lnTo>
                            <a:lnTo>
                              <a:pt x="474" y="350"/>
                            </a:lnTo>
                            <a:lnTo>
                              <a:pt x="642" y="404"/>
                            </a:lnTo>
                            <a:lnTo>
                              <a:pt x="642" y="406"/>
                            </a:lnTo>
                            <a:lnTo>
                              <a:pt x="642" y="406"/>
                            </a:lnTo>
                            <a:lnTo>
                              <a:pt x="636" y="39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5" name="Freeform 2997"/>
                      <p:cNvSpPr>
                        <a:spLocks/>
                      </p:cNvSpPr>
                      <p:nvPr/>
                    </p:nvSpPr>
                    <p:spPr bwMode="auto">
                      <a:xfrm>
                        <a:off x="3112" y="1457"/>
                        <a:ext cx="524" cy="418"/>
                      </a:xfrm>
                      <a:custGeom>
                        <a:avLst/>
                        <a:gdLst/>
                        <a:ahLst/>
                        <a:cxnLst>
                          <a:cxn ang="0">
                            <a:pos x="524" y="202"/>
                          </a:cxn>
                          <a:cxn ang="0">
                            <a:pos x="516" y="146"/>
                          </a:cxn>
                          <a:cxn ang="0">
                            <a:pos x="444" y="76"/>
                          </a:cxn>
                          <a:cxn ang="0">
                            <a:pos x="428" y="2"/>
                          </a:cxn>
                          <a:cxn ang="0">
                            <a:pos x="428" y="0"/>
                          </a:cxn>
                          <a:cxn ang="0">
                            <a:pos x="416" y="0"/>
                          </a:cxn>
                          <a:cxn ang="0">
                            <a:pos x="426" y="0"/>
                          </a:cxn>
                          <a:cxn ang="0">
                            <a:pos x="428" y="6"/>
                          </a:cxn>
                          <a:cxn ang="0">
                            <a:pos x="0" y="24"/>
                          </a:cxn>
                          <a:cxn ang="0">
                            <a:pos x="4" y="160"/>
                          </a:cxn>
                          <a:cxn ang="0">
                            <a:pos x="98" y="418"/>
                          </a:cxn>
                          <a:cxn ang="0">
                            <a:pos x="444" y="408"/>
                          </a:cxn>
                          <a:cxn ang="0">
                            <a:pos x="444" y="378"/>
                          </a:cxn>
                          <a:cxn ang="0">
                            <a:pos x="484" y="308"/>
                          </a:cxn>
                          <a:cxn ang="0">
                            <a:pos x="464" y="268"/>
                          </a:cxn>
                          <a:cxn ang="0">
                            <a:pos x="524" y="202"/>
                          </a:cxn>
                        </a:cxnLst>
                        <a:rect l="0" t="0" r="r" b="b"/>
                        <a:pathLst>
                          <a:path w="524" h="418">
                            <a:moveTo>
                              <a:pt x="524" y="202"/>
                            </a:moveTo>
                            <a:lnTo>
                              <a:pt x="516" y="146"/>
                            </a:lnTo>
                            <a:lnTo>
                              <a:pt x="444" y="76"/>
                            </a:lnTo>
                            <a:lnTo>
                              <a:pt x="428" y="2"/>
                            </a:lnTo>
                            <a:lnTo>
                              <a:pt x="428" y="0"/>
                            </a:lnTo>
                            <a:lnTo>
                              <a:pt x="416" y="0"/>
                            </a:lnTo>
                            <a:lnTo>
                              <a:pt x="426" y="0"/>
                            </a:lnTo>
                            <a:lnTo>
                              <a:pt x="428" y="6"/>
                            </a:lnTo>
                            <a:lnTo>
                              <a:pt x="0" y="24"/>
                            </a:lnTo>
                            <a:lnTo>
                              <a:pt x="4" y="160"/>
                            </a:lnTo>
                            <a:lnTo>
                              <a:pt x="98" y="418"/>
                            </a:lnTo>
                            <a:lnTo>
                              <a:pt x="444" y="408"/>
                            </a:lnTo>
                            <a:lnTo>
                              <a:pt x="444" y="378"/>
                            </a:lnTo>
                            <a:lnTo>
                              <a:pt x="484" y="308"/>
                            </a:lnTo>
                            <a:lnTo>
                              <a:pt x="464" y="268"/>
                            </a:lnTo>
                            <a:lnTo>
                              <a:pt x="524" y="20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6" name="Freeform 2998"/>
                      <p:cNvSpPr>
                        <a:spLocks/>
                      </p:cNvSpPr>
                      <p:nvPr/>
                    </p:nvSpPr>
                    <p:spPr bwMode="auto">
                      <a:xfrm>
                        <a:off x="3016" y="835"/>
                        <a:ext cx="586" cy="638"/>
                      </a:xfrm>
                      <a:custGeom>
                        <a:avLst/>
                        <a:gdLst/>
                        <a:ahLst/>
                        <a:cxnLst>
                          <a:cxn ang="0">
                            <a:pos x="514" y="566"/>
                          </a:cxn>
                          <a:cxn ang="0">
                            <a:pos x="376" y="482"/>
                          </a:cxn>
                          <a:cxn ang="0">
                            <a:pos x="346" y="344"/>
                          </a:cxn>
                          <a:cxn ang="0">
                            <a:pos x="386" y="302"/>
                          </a:cxn>
                          <a:cxn ang="0">
                            <a:pos x="424" y="214"/>
                          </a:cxn>
                          <a:cxn ang="0">
                            <a:pos x="418" y="216"/>
                          </a:cxn>
                          <a:cxn ang="0">
                            <a:pos x="506" y="108"/>
                          </a:cxn>
                          <a:cxn ang="0">
                            <a:pos x="586" y="54"/>
                          </a:cxn>
                          <a:cxn ang="0">
                            <a:pos x="406" y="54"/>
                          </a:cxn>
                          <a:cxn ang="0">
                            <a:pos x="158" y="0"/>
                          </a:cxn>
                          <a:cxn ang="0">
                            <a:pos x="0" y="8"/>
                          </a:cxn>
                          <a:cxn ang="0">
                            <a:pos x="0" y="12"/>
                          </a:cxn>
                          <a:cxn ang="0">
                            <a:pos x="4" y="14"/>
                          </a:cxn>
                          <a:cxn ang="0">
                            <a:pos x="78" y="390"/>
                          </a:cxn>
                          <a:cxn ang="0">
                            <a:pos x="60" y="422"/>
                          </a:cxn>
                          <a:cxn ang="0">
                            <a:pos x="90" y="460"/>
                          </a:cxn>
                          <a:cxn ang="0">
                            <a:pos x="96" y="638"/>
                          </a:cxn>
                          <a:cxn ang="0">
                            <a:pos x="512" y="622"/>
                          </a:cxn>
                          <a:cxn ang="0">
                            <a:pos x="524" y="622"/>
                          </a:cxn>
                          <a:cxn ang="0">
                            <a:pos x="514" y="566"/>
                          </a:cxn>
                        </a:cxnLst>
                        <a:rect l="0" t="0" r="r" b="b"/>
                        <a:pathLst>
                          <a:path w="586" h="638">
                            <a:moveTo>
                              <a:pt x="514" y="566"/>
                            </a:moveTo>
                            <a:lnTo>
                              <a:pt x="376" y="482"/>
                            </a:lnTo>
                            <a:lnTo>
                              <a:pt x="346" y="344"/>
                            </a:lnTo>
                            <a:lnTo>
                              <a:pt x="386" y="302"/>
                            </a:lnTo>
                            <a:lnTo>
                              <a:pt x="424" y="214"/>
                            </a:lnTo>
                            <a:lnTo>
                              <a:pt x="418" y="216"/>
                            </a:lnTo>
                            <a:lnTo>
                              <a:pt x="506" y="108"/>
                            </a:lnTo>
                            <a:lnTo>
                              <a:pt x="586" y="54"/>
                            </a:lnTo>
                            <a:lnTo>
                              <a:pt x="406" y="54"/>
                            </a:lnTo>
                            <a:lnTo>
                              <a:pt x="158" y="0"/>
                            </a:lnTo>
                            <a:lnTo>
                              <a:pt x="0" y="8"/>
                            </a:lnTo>
                            <a:lnTo>
                              <a:pt x="0" y="12"/>
                            </a:lnTo>
                            <a:lnTo>
                              <a:pt x="4" y="14"/>
                            </a:lnTo>
                            <a:lnTo>
                              <a:pt x="78" y="390"/>
                            </a:lnTo>
                            <a:lnTo>
                              <a:pt x="60" y="422"/>
                            </a:lnTo>
                            <a:lnTo>
                              <a:pt x="90" y="460"/>
                            </a:lnTo>
                            <a:lnTo>
                              <a:pt x="96" y="638"/>
                            </a:lnTo>
                            <a:lnTo>
                              <a:pt x="512" y="622"/>
                            </a:lnTo>
                            <a:lnTo>
                              <a:pt x="524" y="622"/>
                            </a:lnTo>
                            <a:lnTo>
                              <a:pt x="514" y="56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7" name="Freeform 2999"/>
                      <p:cNvSpPr>
                        <a:spLocks/>
                      </p:cNvSpPr>
                      <p:nvPr/>
                    </p:nvSpPr>
                    <p:spPr bwMode="auto">
                      <a:xfrm>
                        <a:off x="3686" y="2005"/>
                        <a:ext cx="82" cy="138"/>
                      </a:xfrm>
                      <a:custGeom>
                        <a:avLst/>
                        <a:gdLst/>
                        <a:ahLst/>
                        <a:cxnLst>
                          <a:cxn ang="0">
                            <a:pos x="4" y="84"/>
                          </a:cxn>
                          <a:cxn ang="0">
                            <a:pos x="4" y="0"/>
                          </a:cxn>
                          <a:cxn ang="0">
                            <a:pos x="0" y="84"/>
                          </a:cxn>
                          <a:cxn ang="0">
                            <a:pos x="82" y="138"/>
                          </a:cxn>
                          <a:cxn ang="0">
                            <a:pos x="4" y="84"/>
                          </a:cxn>
                        </a:cxnLst>
                        <a:rect l="0" t="0" r="r" b="b"/>
                        <a:pathLst>
                          <a:path w="82" h="138">
                            <a:moveTo>
                              <a:pt x="4" y="84"/>
                            </a:moveTo>
                            <a:lnTo>
                              <a:pt x="4" y="0"/>
                            </a:lnTo>
                            <a:lnTo>
                              <a:pt x="0" y="84"/>
                            </a:lnTo>
                            <a:lnTo>
                              <a:pt x="82" y="138"/>
                            </a:lnTo>
                            <a:lnTo>
                              <a:pt x="4" y="8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8" name="Freeform 3000"/>
                      <p:cNvSpPr>
                        <a:spLocks/>
                      </p:cNvSpPr>
                      <p:nvPr/>
                    </p:nvSpPr>
                    <p:spPr bwMode="auto">
                      <a:xfrm>
                        <a:off x="3686" y="2083"/>
                        <a:ext cx="234" cy="146"/>
                      </a:xfrm>
                      <a:custGeom>
                        <a:avLst/>
                        <a:gdLst/>
                        <a:ahLst/>
                        <a:cxnLst>
                          <a:cxn ang="0">
                            <a:pos x="110" y="146"/>
                          </a:cxn>
                          <a:cxn ang="0">
                            <a:pos x="132" y="102"/>
                          </a:cxn>
                          <a:cxn ang="0">
                            <a:pos x="182" y="128"/>
                          </a:cxn>
                          <a:cxn ang="0">
                            <a:pos x="224" y="72"/>
                          </a:cxn>
                          <a:cxn ang="0">
                            <a:pos x="234" y="0"/>
                          </a:cxn>
                          <a:cxn ang="0">
                            <a:pos x="222" y="72"/>
                          </a:cxn>
                          <a:cxn ang="0">
                            <a:pos x="182" y="124"/>
                          </a:cxn>
                          <a:cxn ang="0">
                            <a:pos x="132" y="96"/>
                          </a:cxn>
                          <a:cxn ang="0">
                            <a:pos x="110" y="138"/>
                          </a:cxn>
                          <a:cxn ang="0">
                            <a:pos x="82" y="60"/>
                          </a:cxn>
                          <a:cxn ang="0">
                            <a:pos x="0" y="6"/>
                          </a:cxn>
                          <a:cxn ang="0">
                            <a:pos x="80" y="64"/>
                          </a:cxn>
                          <a:cxn ang="0">
                            <a:pos x="110" y="146"/>
                          </a:cxn>
                        </a:cxnLst>
                        <a:rect l="0" t="0" r="r" b="b"/>
                        <a:pathLst>
                          <a:path w="234" h="146">
                            <a:moveTo>
                              <a:pt x="110" y="146"/>
                            </a:moveTo>
                            <a:lnTo>
                              <a:pt x="132" y="102"/>
                            </a:lnTo>
                            <a:lnTo>
                              <a:pt x="182" y="128"/>
                            </a:lnTo>
                            <a:lnTo>
                              <a:pt x="224" y="72"/>
                            </a:lnTo>
                            <a:lnTo>
                              <a:pt x="234" y="0"/>
                            </a:lnTo>
                            <a:lnTo>
                              <a:pt x="222" y="72"/>
                            </a:lnTo>
                            <a:lnTo>
                              <a:pt x="182" y="124"/>
                            </a:lnTo>
                            <a:lnTo>
                              <a:pt x="132" y="96"/>
                            </a:lnTo>
                            <a:lnTo>
                              <a:pt x="110" y="138"/>
                            </a:lnTo>
                            <a:lnTo>
                              <a:pt x="82" y="60"/>
                            </a:lnTo>
                            <a:lnTo>
                              <a:pt x="0" y="6"/>
                            </a:lnTo>
                            <a:lnTo>
                              <a:pt x="80" y="64"/>
                            </a:lnTo>
                            <a:lnTo>
                              <a:pt x="110" y="14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29" name="Freeform 3001"/>
                      <p:cNvSpPr>
                        <a:spLocks/>
                      </p:cNvSpPr>
                      <p:nvPr/>
                    </p:nvSpPr>
                    <p:spPr bwMode="auto">
                      <a:xfrm>
                        <a:off x="3908" y="1991"/>
                        <a:ext cx="28" cy="164"/>
                      </a:xfrm>
                      <a:custGeom>
                        <a:avLst/>
                        <a:gdLst/>
                        <a:ahLst/>
                        <a:cxnLst>
                          <a:cxn ang="0">
                            <a:pos x="0" y="164"/>
                          </a:cxn>
                          <a:cxn ang="0">
                            <a:pos x="12" y="92"/>
                          </a:cxn>
                          <a:cxn ang="0">
                            <a:pos x="14" y="82"/>
                          </a:cxn>
                          <a:cxn ang="0">
                            <a:pos x="16" y="72"/>
                          </a:cxn>
                          <a:cxn ang="0">
                            <a:pos x="28" y="0"/>
                          </a:cxn>
                          <a:cxn ang="0">
                            <a:pos x="8" y="82"/>
                          </a:cxn>
                          <a:cxn ang="0">
                            <a:pos x="0" y="164"/>
                          </a:cxn>
                        </a:cxnLst>
                        <a:rect l="0" t="0" r="r" b="b"/>
                        <a:pathLst>
                          <a:path w="28" h="164">
                            <a:moveTo>
                              <a:pt x="0" y="164"/>
                            </a:moveTo>
                            <a:lnTo>
                              <a:pt x="12" y="92"/>
                            </a:lnTo>
                            <a:lnTo>
                              <a:pt x="14" y="82"/>
                            </a:lnTo>
                            <a:lnTo>
                              <a:pt x="16" y="72"/>
                            </a:lnTo>
                            <a:lnTo>
                              <a:pt x="28" y="0"/>
                            </a:lnTo>
                            <a:lnTo>
                              <a:pt x="8" y="82"/>
                            </a:lnTo>
                            <a:lnTo>
                              <a:pt x="0" y="16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0" name="Freeform 3003"/>
                      <p:cNvSpPr>
                        <a:spLocks/>
                      </p:cNvSpPr>
                      <p:nvPr/>
                    </p:nvSpPr>
                    <p:spPr bwMode="auto">
                      <a:xfrm>
                        <a:off x="3920" y="2063"/>
                        <a:ext cx="4" cy="20"/>
                      </a:xfrm>
                      <a:custGeom>
                        <a:avLst/>
                        <a:gdLst/>
                        <a:ahLst/>
                        <a:cxnLst>
                          <a:cxn ang="0">
                            <a:pos x="0" y="20"/>
                          </a:cxn>
                          <a:cxn ang="0">
                            <a:pos x="4" y="0"/>
                          </a:cxn>
                          <a:cxn ang="0">
                            <a:pos x="2" y="10"/>
                          </a:cxn>
                          <a:cxn ang="0">
                            <a:pos x="0" y="20"/>
                          </a:cxn>
                        </a:cxnLst>
                        <a:rect l="0" t="0" r="r" b="b"/>
                        <a:pathLst>
                          <a:path w="4" h="20">
                            <a:moveTo>
                              <a:pt x="0" y="20"/>
                            </a:moveTo>
                            <a:lnTo>
                              <a:pt x="4" y="0"/>
                            </a:lnTo>
                            <a:lnTo>
                              <a:pt x="2" y="10"/>
                            </a:lnTo>
                            <a:lnTo>
                              <a:pt x="0" y="2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1" name="Freeform 3004"/>
                      <p:cNvSpPr>
                        <a:spLocks/>
                      </p:cNvSpPr>
                      <p:nvPr/>
                    </p:nvSpPr>
                    <p:spPr bwMode="auto">
                      <a:xfrm>
                        <a:off x="3968" y="2043"/>
                        <a:ext cx="104" cy="60"/>
                      </a:xfrm>
                      <a:custGeom>
                        <a:avLst/>
                        <a:gdLst/>
                        <a:ahLst/>
                        <a:cxnLst>
                          <a:cxn ang="0">
                            <a:pos x="24" y="54"/>
                          </a:cxn>
                          <a:cxn ang="0">
                            <a:pos x="0" y="40"/>
                          </a:cxn>
                          <a:cxn ang="0">
                            <a:pos x="24" y="60"/>
                          </a:cxn>
                          <a:cxn ang="0">
                            <a:pos x="104" y="0"/>
                          </a:cxn>
                          <a:cxn ang="0">
                            <a:pos x="24" y="54"/>
                          </a:cxn>
                        </a:cxnLst>
                        <a:rect l="0" t="0" r="r" b="b"/>
                        <a:pathLst>
                          <a:path w="104" h="60">
                            <a:moveTo>
                              <a:pt x="24" y="54"/>
                            </a:moveTo>
                            <a:lnTo>
                              <a:pt x="0" y="40"/>
                            </a:lnTo>
                            <a:lnTo>
                              <a:pt x="24" y="60"/>
                            </a:lnTo>
                            <a:lnTo>
                              <a:pt x="104" y="0"/>
                            </a:lnTo>
                            <a:lnTo>
                              <a:pt x="24" y="5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2" name="Freeform 3005"/>
                      <p:cNvSpPr>
                        <a:spLocks/>
                      </p:cNvSpPr>
                      <p:nvPr/>
                    </p:nvSpPr>
                    <p:spPr bwMode="auto">
                      <a:xfrm>
                        <a:off x="4100" y="1909"/>
                        <a:ext cx="88" cy="148"/>
                      </a:xfrm>
                      <a:custGeom>
                        <a:avLst/>
                        <a:gdLst/>
                        <a:ahLst/>
                        <a:cxnLst>
                          <a:cxn ang="0">
                            <a:pos x="0" y="148"/>
                          </a:cxn>
                          <a:cxn ang="0">
                            <a:pos x="52" y="42"/>
                          </a:cxn>
                          <a:cxn ang="0">
                            <a:pos x="88" y="0"/>
                          </a:cxn>
                          <a:cxn ang="0">
                            <a:pos x="50" y="40"/>
                          </a:cxn>
                          <a:cxn ang="0">
                            <a:pos x="0" y="148"/>
                          </a:cxn>
                        </a:cxnLst>
                        <a:rect l="0" t="0" r="r" b="b"/>
                        <a:pathLst>
                          <a:path w="88" h="148">
                            <a:moveTo>
                              <a:pt x="0" y="148"/>
                            </a:moveTo>
                            <a:lnTo>
                              <a:pt x="52" y="42"/>
                            </a:lnTo>
                            <a:lnTo>
                              <a:pt x="88" y="0"/>
                            </a:lnTo>
                            <a:lnTo>
                              <a:pt x="50" y="40"/>
                            </a:lnTo>
                            <a:lnTo>
                              <a:pt x="0" y="14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3" name="Freeform 3006"/>
                      <p:cNvSpPr>
                        <a:spLocks/>
                      </p:cNvSpPr>
                      <p:nvPr/>
                    </p:nvSpPr>
                    <p:spPr bwMode="auto">
                      <a:xfrm>
                        <a:off x="3914" y="2083"/>
                        <a:ext cx="78" cy="48"/>
                      </a:xfrm>
                      <a:custGeom>
                        <a:avLst/>
                        <a:gdLst/>
                        <a:ahLst/>
                        <a:cxnLst>
                          <a:cxn ang="0">
                            <a:pos x="0" y="44"/>
                          </a:cxn>
                          <a:cxn ang="0">
                            <a:pos x="0" y="48"/>
                          </a:cxn>
                          <a:cxn ang="0">
                            <a:pos x="54" y="4"/>
                          </a:cxn>
                          <a:cxn ang="0">
                            <a:pos x="78" y="20"/>
                          </a:cxn>
                          <a:cxn ang="0">
                            <a:pos x="54" y="0"/>
                          </a:cxn>
                          <a:cxn ang="0">
                            <a:pos x="0" y="44"/>
                          </a:cxn>
                        </a:cxnLst>
                        <a:rect l="0" t="0" r="r" b="b"/>
                        <a:pathLst>
                          <a:path w="78" h="48">
                            <a:moveTo>
                              <a:pt x="0" y="44"/>
                            </a:moveTo>
                            <a:lnTo>
                              <a:pt x="0" y="48"/>
                            </a:lnTo>
                            <a:lnTo>
                              <a:pt x="54" y="4"/>
                            </a:lnTo>
                            <a:lnTo>
                              <a:pt x="78" y="20"/>
                            </a:lnTo>
                            <a:lnTo>
                              <a:pt x="54" y="0"/>
                            </a:lnTo>
                            <a:lnTo>
                              <a:pt x="0" y="4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4" name="Freeform 3007"/>
                      <p:cNvSpPr>
                        <a:spLocks/>
                      </p:cNvSpPr>
                      <p:nvPr/>
                    </p:nvSpPr>
                    <p:spPr bwMode="auto">
                      <a:xfrm>
                        <a:off x="3992" y="1951"/>
                        <a:ext cx="160" cy="152"/>
                      </a:xfrm>
                      <a:custGeom>
                        <a:avLst/>
                        <a:gdLst/>
                        <a:ahLst/>
                        <a:cxnLst>
                          <a:cxn ang="0">
                            <a:pos x="80" y="92"/>
                          </a:cxn>
                          <a:cxn ang="0">
                            <a:pos x="0" y="152"/>
                          </a:cxn>
                          <a:cxn ang="0">
                            <a:pos x="80" y="96"/>
                          </a:cxn>
                          <a:cxn ang="0">
                            <a:pos x="110" y="110"/>
                          </a:cxn>
                          <a:cxn ang="0">
                            <a:pos x="160" y="0"/>
                          </a:cxn>
                          <a:cxn ang="0">
                            <a:pos x="108" y="106"/>
                          </a:cxn>
                          <a:cxn ang="0">
                            <a:pos x="80" y="92"/>
                          </a:cxn>
                        </a:cxnLst>
                        <a:rect l="0" t="0" r="r" b="b"/>
                        <a:pathLst>
                          <a:path w="160" h="152">
                            <a:moveTo>
                              <a:pt x="80" y="92"/>
                            </a:moveTo>
                            <a:lnTo>
                              <a:pt x="0" y="152"/>
                            </a:lnTo>
                            <a:lnTo>
                              <a:pt x="80" y="96"/>
                            </a:lnTo>
                            <a:lnTo>
                              <a:pt x="110" y="110"/>
                            </a:lnTo>
                            <a:lnTo>
                              <a:pt x="160" y="0"/>
                            </a:lnTo>
                            <a:lnTo>
                              <a:pt x="108" y="106"/>
                            </a:lnTo>
                            <a:lnTo>
                              <a:pt x="80" y="9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5" name="Freeform 3008"/>
                      <p:cNvSpPr>
                        <a:spLocks/>
                      </p:cNvSpPr>
                      <p:nvPr/>
                    </p:nvSpPr>
                    <p:spPr bwMode="auto">
                      <a:xfrm>
                        <a:off x="4184" y="1895"/>
                        <a:ext cx="4" cy="14"/>
                      </a:xfrm>
                      <a:custGeom>
                        <a:avLst/>
                        <a:gdLst/>
                        <a:ahLst/>
                        <a:cxnLst>
                          <a:cxn ang="0">
                            <a:pos x="0" y="2"/>
                          </a:cxn>
                          <a:cxn ang="0">
                            <a:pos x="4" y="14"/>
                          </a:cxn>
                          <a:cxn ang="0">
                            <a:pos x="0" y="0"/>
                          </a:cxn>
                          <a:cxn ang="0">
                            <a:pos x="0" y="2"/>
                          </a:cxn>
                          <a:cxn ang="0">
                            <a:pos x="0" y="2"/>
                          </a:cxn>
                        </a:cxnLst>
                        <a:rect l="0" t="0" r="r" b="b"/>
                        <a:pathLst>
                          <a:path w="4" h="14">
                            <a:moveTo>
                              <a:pt x="0" y="2"/>
                            </a:moveTo>
                            <a:lnTo>
                              <a:pt x="4" y="14"/>
                            </a:lnTo>
                            <a:lnTo>
                              <a:pt x="0" y="0"/>
                            </a:lnTo>
                            <a:lnTo>
                              <a:pt x="0" y="2"/>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6" name="Freeform 3010"/>
                      <p:cNvSpPr>
                        <a:spLocks/>
                      </p:cNvSpPr>
                      <p:nvPr/>
                    </p:nvSpPr>
                    <p:spPr bwMode="auto">
                      <a:xfrm>
                        <a:off x="3900" y="1599"/>
                        <a:ext cx="288" cy="524"/>
                      </a:xfrm>
                      <a:custGeom>
                        <a:avLst/>
                        <a:gdLst/>
                        <a:ahLst/>
                        <a:cxnLst>
                          <a:cxn ang="0">
                            <a:pos x="92" y="498"/>
                          </a:cxn>
                          <a:cxn ang="0">
                            <a:pos x="172" y="444"/>
                          </a:cxn>
                          <a:cxn ang="0">
                            <a:pos x="200" y="458"/>
                          </a:cxn>
                          <a:cxn ang="0">
                            <a:pos x="250" y="350"/>
                          </a:cxn>
                          <a:cxn ang="0">
                            <a:pos x="288" y="310"/>
                          </a:cxn>
                          <a:cxn ang="0">
                            <a:pos x="284" y="298"/>
                          </a:cxn>
                          <a:cxn ang="0">
                            <a:pos x="284" y="298"/>
                          </a:cxn>
                          <a:cxn ang="0">
                            <a:pos x="284" y="296"/>
                          </a:cxn>
                          <a:cxn ang="0">
                            <a:pos x="216" y="0"/>
                          </a:cxn>
                          <a:cxn ang="0">
                            <a:pos x="26" y="6"/>
                          </a:cxn>
                          <a:cxn ang="0">
                            <a:pos x="0" y="28"/>
                          </a:cxn>
                          <a:cxn ang="0">
                            <a:pos x="38" y="392"/>
                          </a:cxn>
                          <a:cxn ang="0">
                            <a:pos x="24" y="464"/>
                          </a:cxn>
                          <a:cxn ang="0">
                            <a:pos x="20" y="484"/>
                          </a:cxn>
                          <a:cxn ang="0">
                            <a:pos x="14" y="524"/>
                          </a:cxn>
                          <a:cxn ang="0">
                            <a:pos x="68" y="484"/>
                          </a:cxn>
                          <a:cxn ang="0">
                            <a:pos x="92" y="498"/>
                          </a:cxn>
                        </a:cxnLst>
                        <a:rect l="0" t="0" r="r" b="b"/>
                        <a:pathLst>
                          <a:path w="288" h="524">
                            <a:moveTo>
                              <a:pt x="92" y="498"/>
                            </a:moveTo>
                            <a:lnTo>
                              <a:pt x="172" y="444"/>
                            </a:lnTo>
                            <a:lnTo>
                              <a:pt x="200" y="458"/>
                            </a:lnTo>
                            <a:lnTo>
                              <a:pt x="250" y="350"/>
                            </a:lnTo>
                            <a:lnTo>
                              <a:pt x="288" y="310"/>
                            </a:lnTo>
                            <a:lnTo>
                              <a:pt x="284" y="298"/>
                            </a:lnTo>
                            <a:lnTo>
                              <a:pt x="284" y="298"/>
                            </a:lnTo>
                            <a:lnTo>
                              <a:pt x="284" y="296"/>
                            </a:lnTo>
                            <a:lnTo>
                              <a:pt x="216" y="0"/>
                            </a:lnTo>
                            <a:lnTo>
                              <a:pt x="26" y="6"/>
                            </a:lnTo>
                            <a:lnTo>
                              <a:pt x="0" y="28"/>
                            </a:lnTo>
                            <a:lnTo>
                              <a:pt x="38" y="392"/>
                            </a:lnTo>
                            <a:lnTo>
                              <a:pt x="24" y="464"/>
                            </a:lnTo>
                            <a:lnTo>
                              <a:pt x="20" y="484"/>
                            </a:lnTo>
                            <a:lnTo>
                              <a:pt x="14" y="524"/>
                            </a:lnTo>
                            <a:lnTo>
                              <a:pt x="68" y="484"/>
                            </a:lnTo>
                            <a:lnTo>
                              <a:pt x="92" y="49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7" name="Freeform 3011"/>
                      <p:cNvSpPr>
                        <a:spLocks/>
                      </p:cNvSpPr>
                      <p:nvPr/>
                    </p:nvSpPr>
                    <p:spPr bwMode="auto">
                      <a:xfrm>
                        <a:off x="3970" y="2457"/>
                        <a:ext cx="32" cy="350"/>
                      </a:xfrm>
                      <a:custGeom>
                        <a:avLst/>
                        <a:gdLst/>
                        <a:ahLst/>
                        <a:cxnLst>
                          <a:cxn ang="0">
                            <a:pos x="0" y="0"/>
                          </a:cxn>
                          <a:cxn ang="0">
                            <a:pos x="32" y="350"/>
                          </a:cxn>
                          <a:cxn ang="0">
                            <a:pos x="8" y="68"/>
                          </a:cxn>
                          <a:cxn ang="0">
                            <a:pos x="2" y="0"/>
                          </a:cxn>
                          <a:cxn ang="0">
                            <a:pos x="0" y="0"/>
                          </a:cxn>
                        </a:cxnLst>
                        <a:rect l="0" t="0" r="r" b="b"/>
                        <a:pathLst>
                          <a:path w="32" h="350">
                            <a:moveTo>
                              <a:pt x="0" y="0"/>
                            </a:moveTo>
                            <a:lnTo>
                              <a:pt x="32" y="350"/>
                            </a:lnTo>
                            <a:lnTo>
                              <a:pt x="8" y="68"/>
                            </a:lnTo>
                            <a:lnTo>
                              <a:pt x="2" y="0"/>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8" name="Freeform 3012"/>
                      <p:cNvSpPr>
                        <a:spLocks/>
                      </p:cNvSpPr>
                      <p:nvPr/>
                    </p:nvSpPr>
                    <p:spPr bwMode="auto">
                      <a:xfrm>
                        <a:off x="3692" y="2455"/>
                        <a:ext cx="328" cy="586"/>
                      </a:xfrm>
                      <a:custGeom>
                        <a:avLst/>
                        <a:gdLst/>
                        <a:ahLst/>
                        <a:cxnLst>
                          <a:cxn ang="0">
                            <a:pos x="278" y="0"/>
                          </a:cxn>
                          <a:cxn ang="0">
                            <a:pos x="74" y="22"/>
                          </a:cxn>
                          <a:cxn ang="0">
                            <a:pos x="0" y="240"/>
                          </a:cxn>
                          <a:cxn ang="0">
                            <a:pos x="38" y="372"/>
                          </a:cxn>
                          <a:cxn ang="0">
                            <a:pos x="6" y="522"/>
                          </a:cxn>
                          <a:cxn ang="0">
                            <a:pos x="178" y="508"/>
                          </a:cxn>
                          <a:cxn ang="0">
                            <a:pos x="216" y="586"/>
                          </a:cxn>
                          <a:cxn ang="0">
                            <a:pos x="298" y="560"/>
                          </a:cxn>
                          <a:cxn ang="0">
                            <a:pos x="328" y="560"/>
                          </a:cxn>
                          <a:cxn ang="0">
                            <a:pos x="310" y="352"/>
                          </a:cxn>
                          <a:cxn ang="0">
                            <a:pos x="278" y="2"/>
                          </a:cxn>
                          <a:cxn ang="0">
                            <a:pos x="280" y="2"/>
                          </a:cxn>
                          <a:cxn ang="0">
                            <a:pos x="286" y="70"/>
                          </a:cxn>
                          <a:cxn ang="0">
                            <a:pos x="280" y="0"/>
                          </a:cxn>
                          <a:cxn ang="0">
                            <a:pos x="278" y="0"/>
                          </a:cxn>
                        </a:cxnLst>
                        <a:rect l="0" t="0" r="r" b="b"/>
                        <a:pathLst>
                          <a:path w="328" h="586">
                            <a:moveTo>
                              <a:pt x="278" y="0"/>
                            </a:moveTo>
                            <a:lnTo>
                              <a:pt x="74" y="22"/>
                            </a:lnTo>
                            <a:lnTo>
                              <a:pt x="0" y="240"/>
                            </a:lnTo>
                            <a:lnTo>
                              <a:pt x="38" y="372"/>
                            </a:lnTo>
                            <a:lnTo>
                              <a:pt x="6" y="522"/>
                            </a:lnTo>
                            <a:lnTo>
                              <a:pt x="178" y="508"/>
                            </a:lnTo>
                            <a:lnTo>
                              <a:pt x="216" y="586"/>
                            </a:lnTo>
                            <a:lnTo>
                              <a:pt x="298" y="560"/>
                            </a:lnTo>
                            <a:lnTo>
                              <a:pt x="328" y="560"/>
                            </a:lnTo>
                            <a:lnTo>
                              <a:pt x="310" y="352"/>
                            </a:lnTo>
                            <a:lnTo>
                              <a:pt x="278" y="2"/>
                            </a:lnTo>
                            <a:lnTo>
                              <a:pt x="280" y="2"/>
                            </a:lnTo>
                            <a:lnTo>
                              <a:pt x="286" y="70"/>
                            </a:lnTo>
                            <a:lnTo>
                              <a:pt x="280" y="0"/>
                            </a:lnTo>
                            <a:lnTo>
                              <a:pt x="27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39" name="Freeform 3013"/>
                      <p:cNvSpPr>
                        <a:spLocks/>
                      </p:cNvSpPr>
                      <p:nvPr/>
                    </p:nvSpPr>
                    <p:spPr bwMode="auto">
                      <a:xfrm>
                        <a:off x="4002" y="2807"/>
                        <a:ext cx="20" cy="208"/>
                      </a:xfrm>
                      <a:custGeom>
                        <a:avLst/>
                        <a:gdLst/>
                        <a:ahLst/>
                        <a:cxnLst>
                          <a:cxn ang="0">
                            <a:pos x="20" y="208"/>
                          </a:cxn>
                          <a:cxn ang="0">
                            <a:pos x="0" y="0"/>
                          </a:cxn>
                          <a:cxn ang="0">
                            <a:pos x="18" y="208"/>
                          </a:cxn>
                          <a:cxn ang="0">
                            <a:pos x="20" y="208"/>
                          </a:cxn>
                        </a:cxnLst>
                        <a:rect l="0" t="0" r="r" b="b"/>
                        <a:pathLst>
                          <a:path w="20" h="208">
                            <a:moveTo>
                              <a:pt x="20" y="208"/>
                            </a:moveTo>
                            <a:lnTo>
                              <a:pt x="0" y="0"/>
                            </a:lnTo>
                            <a:lnTo>
                              <a:pt x="18" y="208"/>
                            </a:lnTo>
                            <a:lnTo>
                              <a:pt x="20" y="20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0" name="Freeform 3014"/>
                      <p:cNvSpPr>
                        <a:spLocks/>
                      </p:cNvSpPr>
                      <p:nvPr/>
                    </p:nvSpPr>
                    <p:spPr bwMode="auto">
                      <a:xfrm>
                        <a:off x="3972" y="2419"/>
                        <a:ext cx="368" cy="596"/>
                      </a:xfrm>
                      <a:custGeom>
                        <a:avLst/>
                        <a:gdLst/>
                        <a:ahLst/>
                        <a:cxnLst>
                          <a:cxn ang="0">
                            <a:pos x="368" y="466"/>
                          </a:cxn>
                          <a:cxn ang="0">
                            <a:pos x="350" y="330"/>
                          </a:cxn>
                          <a:cxn ang="0">
                            <a:pos x="226" y="0"/>
                          </a:cxn>
                          <a:cxn ang="0">
                            <a:pos x="0" y="36"/>
                          </a:cxn>
                          <a:cxn ang="0">
                            <a:pos x="6" y="106"/>
                          </a:cxn>
                          <a:cxn ang="0">
                            <a:pos x="52" y="596"/>
                          </a:cxn>
                          <a:cxn ang="0">
                            <a:pos x="96" y="596"/>
                          </a:cxn>
                          <a:cxn ang="0">
                            <a:pos x="134" y="580"/>
                          </a:cxn>
                          <a:cxn ang="0">
                            <a:pos x="90" y="490"/>
                          </a:cxn>
                          <a:cxn ang="0">
                            <a:pos x="368" y="466"/>
                          </a:cxn>
                        </a:cxnLst>
                        <a:rect l="0" t="0" r="r" b="b"/>
                        <a:pathLst>
                          <a:path w="368" h="596">
                            <a:moveTo>
                              <a:pt x="368" y="466"/>
                            </a:moveTo>
                            <a:lnTo>
                              <a:pt x="350" y="330"/>
                            </a:lnTo>
                            <a:lnTo>
                              <a:pt x="226" y="0"/>
                            </a:lnTo>
                            <a:lnTo>
                              <a:pt x="0" y="36"/>
                            </a:lnTo>
                            <a:lnTo>
                              <a:pt x="6" y="106"/>
                            </a:lnTo>
                            <a:lnTo>
                              <a:pt x="52" y="596"/>
                            </a:lnTo>
                            <a:lnTo>
                              <a:pt x="96" y="596"/>
                            </a:lnTo>
                            <a:lnTo>
                              <a:pt x="134" y="580"/>
                            </a:lnTo>
                            <a:lnTo>
                              <a:pt x="90" y="490"/>
                            </a:lnTo>
                            <a:lnTo>
                              <a:pt x="368" y="46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1" name="Freeform 3015"/>
                      <p:cNvSpPr>
                        <a:spLocks/>
                      </p:cNvSpPr>
                      <p:nvPr/>
                    </p:nvSpPr>
                    <p:spPr bwMode="auto">
                      <a:xfrm>
                        <a:off x="4436" y="2409"/>
                        <a:ext cx="54" cy="38"/>
                      </a:xfrm>
                      <a:custGeom>
                        <a:avLst/>
                        <a:gdLst/>
                        <a:ahLst/>
                        <a:cxnLst>
                          <a:cxn ang="0">
                            <a:pos x="0" y="6"/>
                          </a:cxn>
                          <a:cxn ang="0">
                            <a:pos x="52" y="4"/>
                          </a:cxn>
                          <a:cxn ang="0">
                            <a:pos x="52" y="38"/>
                          </a:cxn>
                          <a:cxn ang="0">
                            <a:pos x="54" y="0"/>
                          </a:cxn>
                          <a:cxn ang="0">
                            <a:pos x="0" y="6"/>
                          </a:cxn>
                        </a:cxnLst>
                        <a:rect l="0" t="0" r="r" b="b"/>
                        <a:pathLst>
                          <a:path w="54" h="38">
                            <a:moveTo>
                              <a:pt x="0" y="6"/>
                            </a:moveTo>
                            <a:lnTo>
                              <a:pt x="52" y="4"/>
                            </a:lnTo>
                            <a:lnTo>
                              <a:pt x="52" y="38"/>
                            </a:lnTo>
                            <a:lnTo>
                              <a:pt x="54" y="0"/>
                            </a:lnTo>
                            <a:lnTo>
                              <a:pt x="0"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2" name="Freeform 3016"/>
                      <p:cNvSpPr>
                        <a:spLocks/>
                      </p:cNvSpPr>
                      <p:nvPr/>
                    </p:nvSpPr>
                    <p:spPr bwMode="auto">
                      <a:xfrm>
                        <a:off x="4436" y="2373"/>
                        <a:ext cx="54" cy="42"/>
                      </a:xfrm>
                      <a:custGeom>
                        <a:avLst/>
                        <a:gdLst/>
                        <a:ahLst/>
                        <a:cxnLst>
                          <a:cxn ang="0">
                            <a:pos x="6" y="40"/>
                          </a:cxn>
                          <a:cxn ang="0">
                            <a:pos x="22" y="0"/>
                          </a:cxn>
                          <a:cxn ang="0">
                            <a:pos x="0" y="42"/>
                          </a:cxn>
                          <a:cxn ang="0">
                            <a:pos x="54" y="36"/>
                          </a:cxn>
                          <a:cxn ang="0">
                            <a:pos x="6" y="40"/>
                          </a:cxn>
                        </a:cxnLst>
                        <a:rect l="0" t="0" r="r" b="b"/>
                        <a:pathLst>
                          <a:path w="54" h="42">
                            <a:moveTo>
                              <a:pt x="6" y="40"/>
                            </a:moveTo>
                            <a:lnTo>
                              <a:pt x="22" y="0"/>
                            </a:lnTo>
                            <a:lnTo>
                              <a:pt x="0" y="42"/>
                            </a:lnTo>
                            <a:lnTo>
                              <a:pt x="54" y="36"/>
                            </a:lnTo>
                            <a:lnTo>
                              <a:pt x="6" y="4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3" name="Freeform 3017"/>
                      <p:cNvSpPr>
                        <a:spLocks/>
                      </p:cNvSpPr>
                      <p:nvPr/>
                    </p:nvSpPr>
                    <p:spPr bwMode="auto">
                      <a:xfrm>
                        <a:off x="4488" y="2409"/>
                        <a:ext cx="264" cy="260"/>
                      </a:xfrm>
                      <a:custGeom>
                        <a:avLst/>
                        <a:gdLst/>
                        <a:ahLst/>
                        <a:cxnLst>
                          <a:cxn ang="0">
                            <a:pos x="2" y="0"/>
                          </a:cxn>
                          <a:cxn ang="0">
                            <a:pos x="0" y="38"/>
                          </a:cxn>
                          <a:cxn ang="0">
                            <a:pos x="264" y="260"/>
                          </a:cxn>
                          <a:cxn ang="0">
                            <a:pos x="2" y="36"/>
                          </a:cxn>
                          <a:cxn ang="0">
                            <a:pos x="2" y="0"/>
                          </a:cxn>
                        </a:cxnLst>
                        <a:rect l="0" t="0" r="r" b="b"/>
                        <a:pathLst>
                          <a:path w="264" h="260">
                            <a:moveTo>
                              <a:pt x="2" y="0"/>
                            </a:moveTo>
                            <a:lnTo>
                              <a:pt x="0" y="38"/>
                            </a:lnTo>
                            <a:lnTo>
                              <a:pt x="264" y="260"/>
                            </a:lnTo>
                            <a:lnTo>
                              <a:pt x="2" y="36"/>
                            </a:lnTo>
                            <a:lnTo>
                              <a:pt x="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4" name="Freeform 3018"/>
                      <p:cNvSpPr>
                        <a:spLocks/>
                      </p:cNvSpPr>
                      <p:nvPr/>
                    </p:nvSpPr>
                    <p:spPr bwMode="auto">
                      <a:xfrm>
                        <a:off x="4436" y="2359"/>
                        <a:ext cx="28" cy="56"/>
                      </a:xfrm>
                      <a:custGeom>
                        <a:avLst/>
                        <a:gdLst/>
                        <a:ahLst/>
                        <a:cxnLst>
                          <a:cxn ang="0">
                            <a:pos x="28" y="0"/>
                          </a:cxn>
                          <a:cxn ang="0">
                            <a:pos x="22" y="2"/>
                          </a:cxn>
                          <a:cxn ang="0">
                            <a:pos x="0" y="56"/>
                          </a:cxn>
                          <a:cxn ang="0">
                            <a:pos x="22" y="14"/>
                          </a:cxn>
                          <a:cxn ang="0">
                            <a:pos x="28" y="0"/>
                          </a:cxn>
                        </a:cxnLst>
                        <a:rect l="0" t="0" r="r" b="b"/>
                        <a:pathLst>
                          <a:path w="28" h="56">
                            <a:moveTo>
                              <a:pt x="28" y="0"/>
                            </a:moveTo>
                            <a:lnTo>
                              <a:pt x="22" y="2"/>
                            </a:lnTo>
                            <a:lnTo>
                              <a:pt x="0" y="56"/>
                            </a:lnTo>
                            <a:lnTo>
                              <a:pt x="22" y="14"/>
                            </a:lnTo>
                            <a:lnTo>
                              <a:pt x="28"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5" name="Freeform 3019"/>
                      <p:cNvSpPr>
                        <a:spLocks/>
                      </p:cNvSpPr>
                      <p:nvPr/>
                    </p:nvSpPr>
                    <p:spPr bwMode="auto">
                      <a:xfrm>
                        <a:off x="4442" y="2291"/>
                        <a:ext cx="438" cy="378"/>
                      </a:xfrm>
                      <a:custGeom>
                        <a:avLst/>
                        <a:gdLst/>
                        <a:ahLst/>
                        <a:cxnLst>
                          <a:cxn ang="0">
                            <a:pos x="0" y="122"/>
                          </a:cxn>
                          <a:cxn ang="0">
                            <a:pos x="48" y="118"/>
                          </a:cxn>
                          <a:cxn ang="0">
                            <a:pos x="48" y="154"/>
                          </a:cxn>
                          <a:cxn ang="0">
                            <a:pos x="310" y="378"/>
                          </a:cxn>
                          <a:cxn ang="0">
                            <a:pos x="422" y="176"/>
                          </a:cxn>
                          <a:cxn ang="0">
                            <a:pos x="438" y="104"/>
                          </a:cxn>
                          <a:cxn ang="0">
                            <a:pos x="306" y="16"/>
                          </a:cxn>
                          <a:cxn ang="0">
                            <a:pos x="224" y="32"/>
                          </a:cxn>
                          <a:cxn ang="0">
                            <a:pos x="194" y="0"/>
                          </a:cxn>
                          <a:cxn ang="0">
                            <a:pos x="24" y="66"/>
                          </a:cxn>
                          <a:cxn ang="0">
                            <a:pos x="16" y="82"/>
                          </a:cxn>
                          <a:cxn ang="0">
                            <a:pos x="0" y="122"/>
                          </a:cxn>
                        </a:cxnLst>
                        <a:rect l="0" t="0" r="r" b="b"/>
                        <a:pathLst>
                          <a:path w="438" h="378">
                            <a:moveTo>
                              <a:pt x="0" y="122"/>
                            </a:moveTo>
                            <a:lnTo>
                              <a:pt x="48" y="118"/>
                            </a:lnTo>
                            <a:lnTo>
                              <a:pt x="48" y="154"/>
                            </a:lnTo>
                            <a:lnTo>
                              <a:pt x="310" y="378"/>
                            </a:lnTo>
                            <a:lnTo>
                              <a:pt x="422" y="176"/>
                            </a:lnTo>
                            <a:lnTo>
                              <a:pt x="438" y="104"/>
                            </a:lnTo>
                            <a:lnTo>
                              <a:pt x="306" y="16"/>
                            </a:lnTo>
                            <a:lnTo>
                              <a:pt x="224" y="32"/>
                            </a:lnTo>
                            <a:lnTo>
                              <a:pt x="194" y="0"/>
                            </a:lnTo>
                            <a:lnTo>
                              <a:pt x="24" y="66"/>
                            </a:lnTo>
                            <a:lnTo>
                              <a:pt x="16" y="82"/>
                            </a:lnTo>
                            <a:lnTo>
                              <a:pt x="0" y="12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6" name="Freeform 3020"/>
                      <p:cNvSpPr>
                        <a:spLocks/>
                      </p:cNvSpPr>
                      <p:nvPr/>
                    </p:nvSpPr>
                    <p:spPr bwMode="auto">
                      <a:xfrm>
                        <a:off x="4346" y="2849"/>
                        <a:ext cx="320" cy="84"/>
                      </a:xfrm>
                      <a:custGeom>
                        <a:avLst/>
                        <a:gdLst/>
                        <a:ahLst/>
                        <a:cxnLst>
                          <a:cxn ang="0">
                            <a:pos x="278" y="42"/>
                          </a:cxn>
                          <a:cxn ang="0">
                            <a:pos x="320" y="56"/>
                          </a:cxn>
                          <a:cxn ang="0">
                            <a:pos x="314" y="0"/>
                          </a:cxn>
                          <a:cxn ang="0">
                            <a:pos x="314" y="48"/>
                          </a:cxn>
                          <a:cxn ang="0">
                            <a:pos x="280" y="36"/>
                          </a:cxn>
                          <a:cxn ang="0">
                            <a:pos x="18" y="78"/>
                          </a:cxn>
                          <a:cxn ang="0">
                            <a:pos x="0" y="54"/>
                          </a:cxn>
                          <a:cxn ang="0">
                            <a:pos x="18" y="84"/>
                          </a:cxn>
                          <a:cxn ang="0">
                            <a:pos x="278" y="42"/>
                          </a:cxn>
                        </a:cxnLst>
                        <a:rect l="0" t="0" r="r" b="b"/>
                        <a:pathLst>
                          <a:path w="320" h="84">
                            <a:moveTo>
                              <a:pt x="278" y="42"/>
                            </a:moveTo>
                            <a:lnTo>
                              <a:pt x="320" y="56"/>
                            </a:lnTo>
                            <a:lnTo>
                              <a:pt x="314" y="0"/>
                            </a:lnTo>
                            <a:lnTo>
                              <a:pt x="314" y="48"/>
                            </a:lnTo>
                            <a:lnTo>
                              <a:pt x="280" y="36"/>
                            </a:lnTo>
                            <a:lnTo>
                              <a:pt x="18" y="78"/>
                            </a:lnTo>
                            <a:lnTo>
                              <a:pt x="0" y="54"/>
                            </a:lnTo>
                            <a:lnTo>
                              <a:pt x="18" y="84"/>
                            </a:lnTo>
                            <a:lnTo>
                              <a:pt x="278" y="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7" name="Freeform 3021"/>
                      <p:cNvSpPr>
                        <a:spLocks/>
                      </p:cNvSpPr>
                      <p:nvPr/>
                    </p:nvSpPr>
                    <p:spPr bwMode="auto">
                      <a:xfrm>
                        <a:off x="4660" y="2847"/>
                        <a:ext cx="70" cy="4"/>
                      </a:xfrm>
                      <a:custGeom>
                        <a:avLst/>
                        <a:gdLst/>
                        <a:ahLst/>
                        <a:cxnLst>
                          <a:cxn ang="0">
                            <a:pos x="0" y="2"/>
                          </a:cxn>
                          <a:cxn ang="0">
                            <a:pos x="70" y="4"/>
                          </a:cxn>
                          <a:cxn ang="0">
                            <a:pos x="70" y="0"/>
                          </a:cxn>
                          <a:cxn ang="0">
                            <a:pos x="0" y="2"/>
                          </a:cxn>
                        </a:cxnLst>
                        <a:rect l="0" t="0" r="r" b="b"/>
                        <a:pathLst>
                          <a:path w="70" h="4">
                            <a:moveTo>
                              <a:pt x="0" y="2"/>
                            </a:moveTo>
                            <a:lnTo>
                              <a:pt x="70" y="4"/>
                            </a:lnTo>
                            <a:lnTo>
                              <a:pt x="70"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8" name="Freeform 3022"/>
                      <p:cNvSpPr>
                        <a:spLocks/>
                      </p:cNvSpPr>
                      <p:nvPr/>
                    </p:nvSpPr>
                    <p:spPr bwMode="auto">
                      <a:xfrm>
                        <a:off x="4660" y="2849"/>
                        <a:ext cx="70" cy="56"/>
                      </a:xfrm>
                      <a:custGeom>
                        <a:avLst/>
                        <a:gdLst/>
                        <a:ahLst/>
                        <a:cxnLst>
                          <a:cxn ang="0">
                            <a:pos x="6" y="56"/>
                          </a:cxn>
                          <a:cxn ang="0">
                            <a:pos x="6" y="6"/>
                          </a:cxn>
                          <a:cxn ang="0">
                            <a:pos x="70" y="6"/>
                          </a:cxn>
                          <a:cxn ang="0">
                            <a:pos x="70" y="2"/>
                          </a:cxn>
                          <a:cxn ang="0">
                            <a:pos x="0" y="0"/>
                          </a:cxn>
                          <a:cxn ang="0">
                            <a:pos x="6" y="56"/>
                          </a:cxn>
                        </a:cxnLst>
                        <a:rect l="0" t="0" r="r" b="b"/>
                        <a:pathLst>
                          <a:path w="70" h="56">
                            <a:moveTo>
                              <a:pt x="6" y="56"/>
                            </a:moveTo>
                            <a:lnTo>
                              <a:pt x="6" y="6"/>
                            </a:lnTo>
                            <a:lnTo>
                              <a:pt x="70" y="6"/>
                            </a:lnTo>
                            <a:lnTo>
                              <a:pt x="70" y="2"/>
                            </a:lnTo>
                            <a:lnTo>
                              <a:pt x="0" y="0"/>
                            </a:lnTo>
                            <a:lnTo>
                              <a:pt x="6" y="5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49" name="Freeform 3023"/>
                      <p:cNvSpPr>
                        <a:spLocks/>
                      </p:cNvSpPr>
                      <p:nvPr/>
                    </p:nvSpPr>
                    <p:spPr bwMode="auto">
                      <a:xfrm>
                        <a:off x="4340" y="2891"/>
                        <a:ext cx="24" cy="42"/>
                      </a:xfrm>
                      <a:custGeom>
                        <a:avLst/>
                        <a:gdLst/>
                        <a:ahLst/>
                        <a:cxnLst>
                          <a:cxn ang="0">
                            <a:pos x="24" y="42"/>
                          </a:cxn>
                          <a:cxn ang="0">
                            <a:pos x="6" y="12"/>
                          </a:cxn>
                          <a:cxn ang="0">
                            <a:pos x="0" y="0"/>
                          </a:cxn>
                          <a:cxn ang="0">
                            <a:pos x="2" y="12"/>
                          </a:cxn>
                          <a:cxn ang="0">
                            <a:pos x="24" y="42"/>
                          </a:cxn>
                        </a:cxnLst>
                        <a:rect l="0" t="0" r="r" b="b"/>
                        <a:pathLst>
                          <a:path w="24" h="42">
                            <a:moveTo>
                              <a:pt x="24" y="42"/>
                            </a:moveTo>
                            <a:lnTo>
                              <a:pt x="6" y="12"/>
                            </a:lnTo>
                            <a:lnTo>
                              <a:pt x="0" y="0"/>
                            </a:lnTo>
                            <a:lnTo>
                              <a:pt x="2" y="12"/>
                            </a:lnTo>
                            <a:lnTo>
                              <a:pt x="24" y="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0" name="Freeform 3024"/>
                      <p:cNvSpPr>
                        <a:spLocks/>
                      </p:cNvSpPr>
                      <p:nvPr/>
                    </p:nvSpPr>
                    <p:spPr bwMode="auto">
                      <a:xfrm>
                        <a:off x="4066" y="2911"/>
                        <a:ext cx="44" cy="86"/>
                      </a:xfrm>
                      <a:custGeom>
                        <a:avLst/>
                        <a:gdLst/>
                        <a:ahLst/>
                        <a:cxnLst>
                          <a:cxn ang="0">
                            <a:pos x="44" y="86"/>
                          </a:cxn>
                          <a:cxn ang="0">
                            <a:pos x="44" y="86"/>
                          </a:cxn>
                          <a:cxn ang="0">
                            <a:pos x="0" y="0"/>
                          </a:cxn>
                          <a:cxn ang="0">
                            <a:pos x="44" y="86"/>
                          </a:cxn>
                        </a:cxnLst>
                        <a:rect l="0" t="0" r="r" b="b"/>
                        <a:pathLst>
                          <a:path w="44" h="86">
                            <a:moveTo>
                              <a:pt x="44" y="86"/>
                            </a:moveTo>
                            <a:lnTo>
                              <a:pt x="44" y="86"/>
                            </a:lnTo>
                            <a:lnTo>
                              <a:pt x="0" y="0"/>
                            </a:lnTo>
                            <a:lnTo>
                              <a:pt x="44" y="8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1" name="Freeform 3025"/>
                      <p:cNvSpPr>
                        <a:spLocks/>
                      </p:cNvSpPr>
                      <p:nvPr/>
                    </p:nvSpPr>
                    <p:spPr bwMode="auto">
                      <a:xfrm>
                        <a:off x="4204" y="2357"/>
                        <a:ext cx="546" cy="570"/>
                      </a:xfrm>
                      <a:custGeom>
                        <a:avLst/>
                        <a:gdLst/>
                        <a:ahLst/>
                        <a:cxnLst>
                          <a:cxn ang="0">
                            <a:pos x="422" y="528"/>
                          </a:cxn>
                          <a:cxn ang="0">
                            <a:pos x="456" y="540"/>
                          </a:cxn>
                          <a:cxn ang="0">
                            <a:pos x="456" y="492"/>
                          </a:cxn>
                          <a:cxn ang="0">
                            <a:pos x="526" y="490"/>
                          </a:cxn>
                          <a:cxn ang="0">
                            <a:pos x="526" y="494"/>
                          </a:cxn>
                          <a:cxn ang="0">
                            <a:pos x="526" y="494"/>
                          </a:cxn>
                          <a:cxn ang="0">
                            <a:pos x="512" y="378"/>
                          </a:cxn>
                          <a:cxn ang="0">
                            <a:pos x="546" y="314"/>
                          </a:cxn>
                          <a:cxn ang="0">
                            <a:pos x="284" y="90"/>
                          </a:cxn>
                          <a:cxn ang="0">
                            <a:pos x="284" y="56"/>
                          </a:cxn>
                          <a:cxn ang="0">
                            <a:pos x="232" y="58"/>
                          </a:cxn>
                          <a:cxn ang="0">
                            <a:pos x="254" y="4"/>
                          </a:cxn>
                          <a:cxn ang="0">
                            <a:pos x="260" y="2"/>
                          </a:cxn>
                          <a:cxn ang="0">
                            <a:pos x="254" y="16"/>
                          </a:cxn>
                          <a:cxn ang="0">
                            <a:pos x="262" y="0"/>
                          </a:cxn>
                          <a:cxn ang="0">
                            <a:pos x="182" y="30"/>
                          </a:cxn>
                          <a:cxn ang="0">
                            <a:pos x="0" y="60"/>
                          </a:cxn>
                          <a:cxn ang="0">
                            <a:pos x="120" y="390"/>
                          </a:cxn>
                          <a:cxn ang="0">
                            <a:pos x="142" y="546"/>
                          </a:cxn>
                          <a:cxn ang="0">
                            <a:pos x="160" y="570"/>
                          </a:cxn>
                          <a:cxn ang="0">
                            <a:pos x="422" y="528"/>
                          </a:cxn>
                        </a:cxnLst>
                        <a:rect l="0" t="0" r="r" b="b"/>
                        <a:pathLst>
                          <a:path w="546" h="570">
                            <a:moveTo>
                              <a:pt x="422" y="528"/>
                            </a:moveTo>
                            <a:lnTo>
                              <a:pt x="456" y="540"/>
                            </a:lnTo>
                            <a:lnTo>
                              <a:pt x="456" y="492"/>
                            </a:lnTo>
                            <a:lnTo>
                              <a:pt x="526" y="490"/>
                            </a:lnTo>
                            <a:lnTo>
                              <a:pt x="526" y="494"/>
                            </a:lnTo>
                            <a:lnTo>
                              <a:pt x="526" y="494"/>
                            </a:lnTo>
                            <a:lnTo>
                              <a:pt x="512" y="378"/>
                            </a:lnTo>
                            <a:lnTo>
                              <a:pt x="546" y="314"/>
                            </a:lnTo>
                            <a:lnTo>
                              <a:pt x="284" y="90"/>
                            </a:lnTo>
                            <a:lnTo>
                              <a:pt x="284" y="56"/>
                            </a:lnTo>
                            <a:lnTo>
                              <a:pt x="232" y="58"/>
                            </a:lnTo>
                            <a:lnTo>
                              <a:pt x="254" y="4"/>
                            </a:lnTo>
                            <a:lnTo>
                              <a:pt x="260" y="2"/>
                            </a:lnTo>
                            <a:lnTo>
                              <a:pt x="254" y="16"/>
                            </a:lnTo>
                            <a:lnTo>
                              <a:pt x="262" y="0"/>
                            </a:lnTo>
                            <a:lnTo>
                              <a:pt x="182" y="30"/>
                            </a:lnTo>
                            <a:lnTo>
                              <a:pt x="0" y="60"/>
                            </a:lnTo>
                            <a:lnTo>
                              <a:pt x="120" y="390"/>
                            </a:lnTo>
                            <a:lnTo>
                              <a:pt x="142" y="546"/>
                            </a:lnTo>
                            <a:lnTo>
                              <a:pt x="160" y="570"/>
                            </a:lnTo>
                            <a:lnTo>
                              <a:pt x="422" y="52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2" name="Freeform 3026"/>
                      <p:cNvSpPr>
                        <a:spLocks/>
                      </p:cNvSpPr>
                      <p:nvPr/>
                    </p:nvSpPr>
                    <p:spPr bwMode="auto">
                      <a:xfrm>
                        <a:off x="4066" y="2851"/>
                        <a:ext cx="926" cy="666"/>
                      </a:xfrm>
                      <a:custGeom>
                        <a:avLst/>
                        <a:gdLst/>
                        <a:ahLst/>
                        <a:cxnLst>
                          <a:cxn ang="0">
                            <a:pos x="896" y="342"/>
                          </a:cxn>
                          <a:cxn ang="0">
                            <a:pos x="808" y="232"/>
                          </a:cxn>
                          <a:cxn ang="0">
                            <a:pos x="808" y="182"/>
                          </a:cxn>
                          <a:cxn ang="0">
                            <a:pos x="668" y="20"/>
                          </a:cxn>
                          <a:cxn ang="0">
                            <a:pos x="664" y="0"/>
                          </a:cxn>
                          <a:cxn ang="0">
                            <a:pos x="664" y="0"/>
                          </a:cxn>
                          <a:cxn ang="0">
                            <a:pos x="664" y="4"/>
                          </a:cxn>
                          <a:cxn ang="0">
                            <a:pos x="600" y="4"/>
                          </a:cxn>
                          <a:cxn ang="0">
                            <a:pos x="600" y="54"/>
                          </a:cxn>
                          <a:cxn ang="0">
                            <a:pos x="558" y="40"/>
                          </a:cxn>
                          <a:cxn ang="0">
                            <a:pos x="298" y="82"/>
                          </a:cxn>
                          <a:cxn ang="0">
                            <a:pos x="276" y="52"/>
                          </a:cxn>
                          <a:cxn ang="0">
                            <a:pos x="274" y="40"/>
                          </a:cxn>
                          <a:cxn ang="0">
                            <a:pos x="0" y="60"/>
                          </a:cxn>
                          <a:cxn ang="0">
                            <a:pos x="44" y="146"/>
                          </a:cxn>
                          <a:cxn ang="0">
                            <a:pos x="132" y="108"/>
                          </a:cxn>
                          <a:cxn ang="0">
                            <a:pos x="242" y="154"/>
                          </a:cxn>
                          <a:cxn ang="0">
                            <a:pos x="242" y="192"/>
                          </a:cxn>
                          <a:cxn ang="0">
                            <a:pos x="298" y="192"/>
                          </a:cxn>
                          <a:cxn ang="0">
                            <a:pos x="380" y="128"/>
                          </a:cxn>
                          <a:cxn ang="0">
                            <a:pos x="558" y="206"/>
                          </a:cxn>
                          <a:cxn ang="0">
                            <a:pos x="558" y="368"/>
                          </a:cxn>
                          <a:cxn ang="0">
                            <a:pos x="598" y="382"/>
                          </a:cxn>
                          <a:cxn ang="0">
                            <a:pos x="638" y="478"/>
                          </a:cxn>
                          <a:cxn ang="0">
                            <a:pos x="776" y="584"/>
                          </a:cxn>
                          <a:cxn ang="0">
                            <a:pos x="776" y="626"/>
                          </a:cxn>
                          <a:cxn ang="0">
                            <a:pos x="830" y="666"/>
                          </a:cxn>
                          <a:cxn ang="0">
                            <a:pos x="886" y="610"/>
                          </a:cxn>
                          <a:cxn ang="0">
                            <a:pos x="916" y="610"/>
                          </a:cxn>
                          <a:cxn ang="0">
                            <a:pos x="926" y="518"/>
                          </a:cxn>
                          <a:cxn ang="0">
                            <a:pos x="896" y="342"/>
                          </a:cxn>
                        </a:cxnLst>
                        <a:rect l="0" t="0" r="r" b="b"/>
                        <a:pathLst>
                          <a:path w="926" h="666">
                            <a:moveTo>
                              <a:pt x="896" y="342"/>
                            </a:moveTo>
                            <a:lnTo>
                              <a:pt x="808" y="232"/>
                            </a:lnTo>
                            <a:lnTo>
                              <a:pt x="808" y="182"/>
                            </a:lnTo>
                            <a:lnTo>
                              <a:pt x="668" y="20"/>
                            </a:lnTo>
                            <a:lnTo>
                              <a:pt x="664" y="0"/>
                            </a:lnTo>
                            <a:lnTo>
                              <a:pt x="664" y="0"/>
                            </a:lnTo>
                            <a:lnTo>
                              <a:pt x="664" y="4"/>
                            </a:lnTo>
                            <a:lnTo>
                              <a:pt x="600" y="4"/>
                            </a:lnTo>
                            <a:lnTo>
                              <a:pt x="600" y="54"/>
                            </a:lnTo>
                            <a:lnTo>
                              <a:pt x="558" y="40"/>
                            </a:lnTo>
                            <a:lnTo>
                              <a:pt x="298" y="82"/>
                            </a:lnTo>
                            <a:lnTo>
                              <a:pt x="276" y="52"/>
                            </a:lnTo>
                            <a:lnTo>
                              <a:pt x="274" y="40"/>
                            </a:lnTo>
                            <a:lnTo>
                              <a:pt x="0" y="60"/>
                            </a:lnTo>
                            <a:lnTo>
                              <a:pt x="44" y="146"/>
                            </a:lnTo>
                            <a:lnTo>
                              <a:pt x="132" y="108"/>
                            </a:lnTo>
                            <a:lnTo>
                              <a:pt x="242" y="154"/>
                            </a:lnTo>
                            <a:lnTo>
                              <a:pt x="242" y="192"/>
                            </a:lnTo>
                            <a:lnTo>
                              <a:pt x="298" y="192"/>
                            </a:lnTo>
                            <a:lnTo>
                              <a:pt x="380" y="128"/>
                            </a:lnTo>
                            <a:lnTo>
                              <a:pt x="558" y="206"/>
                            </a:lnTo>
                            <a:lnTo>
                              <a:pt x="558" y="368"/>
                            </a:lnTo>
                            <a:lnTo>
                              <a:pt x="598" y="382"/>
                            </a:lnTo>
                            <a:lnTo>
                              <a:pt x="638" y="478"/>
                            </a:lnTo>
                            <a:lnTo>
                              <a:pt x="776" y="584"/>
                            </a:lnTo>
                            <a:lnTo>
                              <a:pt x="776" y="626"/>
                            </a:lnTo>
                            <a:lnTo>
                              <a:pt x="830" y="666"/>
                            </a:lnTo>
                            <a:lnTo>
                              <a:pt x="886" y="610"/>
                            </a:lnTo>
                            <a:lnTo>
                              <a:pt x="916" y="610"/>
                            </a:lnTo>
                            <a:lnTo>
                              <a:pt x="926" y="518"/>
                            </a:lnTo>
                            <a:lnTo>
                              <a:pt x="896" y="34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3" name="Freeform 3027"/>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4" name="Freeform 3028"/>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5" name="Freeform 3029"/>
                      <p:cNvSpPr>
                        <a:spLocks/>
                      </p:cNvSpPr>
                      <p:nvPr/>
                    </p:nvSpPr>
                    <p:spPr bwMode="auto">
                      <a:xfrm>
                        <a:off x="4448" y="1469"/>
                        <a:ext cx="76" cy="202"/>
                      </a:xfrm>
                      <a:custGeom>
                        <a:avLst/>
                        <a:gdLst/>
                        <a:ahLst/>
                        <a:cxnLst>
                          <a:cxn ang="0">
                            <a:pos x="2" y="0"/>
                          </a:cxn>
                          <a:cxn ang="0">
                            <a:pos x="0" y="6"/>
                          </a:cxn>
                          <a:cxn ang="0">
                            <a:pos x="6" y="24"/>
                          </a:cxn>
                          <a:cxn ang="0">
                            <a:pos x="74" y="202"/>
                          </a:cxn>
                          <a:cxn ang="0">
                            <a:pos x="76" y="200"/>
                          </a:cxn>
                          <a:cxn ang="0">
                            <a:pos x="2" y="0"/>
                          </a:cxn>
                        </a:cxnLst>
                        <a:rect l="0" t="0" r="r" b="b"/>
                        <a:pathLst>
                          <a:path w="76" h="202">
                            <a:moveTo>
                              <a:pt x="2" y="0"/>
                            </a:moveTo>
                            <a:lnTo>
                              <a:pt x="0" y="6"/>
                            </a:lnTo>
                            <a:lnTo>
                              <a:pt x="6" y="24"/>
                            </a:lnTo>
                            <a:lnTo>
                              <a:pt x="74" y="202"/>
                            </a:lnTo>
                            <a:lnTo>
                              <a:pt x="76" y="200"/>
                            </a:lnTo>
                            <a:lnTo>
                              <a:pt x="2"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6" name="Freeform 3030"/>
                      <p:cNvSpPr>
                        <a:spLocks/>
                      </p:cNvSpPr>
                      <p:nvPr/>
                    </p:nvSpPr>
                    <p:spPr bwMode="auto">
                      <a:xfrm>
                        <a:off x="4414" y="1681"/>
                        <a:ext cx="392" cy="354"/>
                      </a:xfrm>
                      <a:custGeom>
                        <a:avLst/>
                        <a:gdLst/>
                        <a:ahLst/>
                        <a:cxnLst>
                          <a:cxn ang="0">
                            <a:pos x="6" y="268"/>
                          </a:cxn>
                          <a:cxn ang="0">
                            <a:pos x="0" y="264"/>
                          </a:cxn>
                          <a:cxn ang="0">
                            <a:pos x="10" y="298"/>
                          </a:cxn>
                          <a:cxn ang="0">
                            <a:pos x="62" y="320"/>
                          </a:cxn>
                          <a:cxn ang="0">
                            <a:pos x="62" y="320"/>
                          </a:cxn>
                          <a:cxn ang="0">
                            <a:pos x="64" y="322"/>
                          </a:cxn>
                          <a:cxn ang="0">
                            <a:pos x="136" y="354"/>
                          </a:cxn>
                          <a:cxn ang="0">
                            <a:pos x="206" y="312"/>
                          </a:cxn>
                          <a:cxn ang="0">
                            <a:pos x="236" y="148"/>
                          </a:cxn>
                          <a:cxn ang="0">
                            <a:pos x="266" y="172"/>
                          </a:cxn>
                          <a:cxn ang="0">
                            <a:pos x="294" y="102"/>
                          </a:cxn>
                          <a:cxn ang="0">
                            <a:pos x="336" y="40"/>
                          </a:cxn>
                          <a:cxn ang="0">
                            <a:pos x="376" y="40"/>
                          </a:cxn>
                          <a:cxn ang="0">
                            <a:pos x="392" y="18"/>
                          </a:cxn>
                          <a:cxn ang="0">
                            <a:pos x="346" y="8"/>
                          </a:cxn>
                          <a:cxn ang="0">
                            <a:pos x="240" y="64"/>
                          </a:cxn>
                          <a:cxn ang="0">
                            <a:pos x="214" y="18"/>
                          </a:cxn>
                          <a:cxn ang="0">
                            <a:pos x="126" y="48"/>
                          </a:cxn>
                          <a:cxn ang="0">
                            <a:pos x="110" y="0"/>
                          </a:cxn>
                          <a:cxn ang="0">
                            <a:pos x="98" y="76"/>
                          </a:cxn>
                          <a:cxn ang="0">
                            <a:pos x="6" y="268"/>
                          </a:cxn>
                        </a:cxnLst>
                        <a:rect l="0" t="0" r="r" b="b"/>
                        <a:pathLst>
                          <a:path w="392" h="354">
                            <a:moveTo>
                              <a:pt x="6" y="268"/>
                            </a:moveTo>
                            <a:lnTo>
                              <a:pt x="0" y="264"/>
                            </a:lnTo>
                            <a:lnTo>
                              <a:pt x="10" y="298"/>
                            </a:lnTo>
                            <a:lnTo>
                              <a:pt x="62" y="320"/>
                            </a:lnTo>
                            <a:lnTo>
                              <a:pt x="62" y="320"/>
                            </a:lnTo>
                            <a:lnTo>
                              <a:pt x="64" y="322"/>
                            </a:lnTo>
                            <a:lnTo>
                              <a:pt x="136" y="354"/>
                            </a:lnTo>
                            <a:lnTo>
                              <a:pt x="206" y="312"/>
                            </a:lnTo>
                            <a:lnTo>
                              <a:pt x="236" y="148"/>
                            </a:lnTo>
                            <a:lnTo>
                              <a:pt x="266" y="172"/>
                            </a:lnTo>
                            <a:lnTo>
                              <a:pt x="294" y="102"/>
                            </a:lnTo>
                            <a:lnTo>
                              <a:pt x="336" y="40"/>
                            </a:lnTo>
                            <a:lnTo>
                              <a:pt x="376" y="40"/>
                            </a:lnTo>
                            <a:lnTo>
                              <a:pt x="392" y="18"/>
                            </a:lnTo>
                            <a:lnTo>
                              <a:pt x="346" y="8"/>
                            </a:lnTo>
                            <a:lnTo>
                              <a:pt x="240" y="64"/>
                            </a:lnTo>
                            <a:lnTo>
                              <a:pt x="214" y="18"/>
                            </a:lnTo>
                            <a:lnTo>
                              <a:pt x="126" y="48"/>
                            </a:lnTo>
                            <a:lnTo>
                              <a:pt x="110" y="0"/>
                            </a:lnTo>
                            <a:lnTo>
                              <a:pt x="98" y="76"/>
                            </a:lnTo>
                            <a:lnTo>
                              <a:pt x="6" y="26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7" name="Freeform 3031"/>
                      <p:cNvSpPr>
                        <a:spLocks/>
                      </p:cNvSpPr>
                      <p:nvPr/>
                    </p:nvSpPr>
                    <p:spPr bwMode="auto">
                      <a:xfrm>
                        <a:off x="4414" y="1943"/>
                        <a:ext cx="6" cy="6"/>
                      </a:xfrm>
                      <a:custGeom>
                        <a:avLst/>
                        <a:gdLst/>
                        <a:ahLst/>
                        <a:cxnLst>
                          <a:cxn ang="0">
                            <a:pos x="0" y="0"/>
                          </a:cxn>
                          <a:cxn ang="0">
                            <a:pos x="0" y="2"/>
                          </a:cxn>
                          <a:cxn ang="0">
                            <a:pos x="6" y="6"/>
                          </a:cxn>
                          <a:cxn ang="0">
                            <a:pos x="0" y="0"/>
                          </a:cxn>
                        </a:cxnLst>
                        <a:rect l="0" t="0" r="r" b="b"/>
                        <a:pathLst>
                          <a:path w="6" h="6">
                            <a:moveTo>
                              <a:pt x="0" y="0"/>
                            </a:moveTo>
                            <a:lnTo>
                              <a:pt x="0" y="2"/>
                            </a:lnTo>
                            <a:lnTo>
                              <a:pt x="6" y="6"/>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8" name="Freeform 3032"/>
                      <p:cNvSpPr>
                        <a:spLocks/>
                      </p:cNvSpPr>
                      <p:nvPr/>
                    </p:nvSpPr>
                    <p:spPr bwMode="auto">
                      <a:xfrm>
                        <a:off x="4512" y="1679"/>
                        <a:ext cx="12" cy="78"/>
                      </a:xfrm>
                      <a:custGeom>
                        <a:avLst/>
                        <a:gdLst/>
                        <a:ahLst/>
                        <a:cxnLst>
                          <a:cxn ang="0">
                            <a:pos x="0" y="78"/>
                          </a:cxn>
                          <a:cxn ang="0">
                            <a:pos x="12" y="2"/>
                          </a:cxn>
                          <a:cxn ang="0">
                            <a:pos x="10" y="0"/>
                          </a:cxn>
                          <a:cxn ang="0">
                            <a:pos x="0" y="78"/>
                          </a:cxn>
                        </a:cxnLst>
                        <a:rect l="0" t="0" r="r" b="b"/>
                        <a:pathLst>
                          <a:path w="12" h="78">
                            <a:moveTo>
                              <a:pt x="0" y="78"/>
                            </a:moveTo>
                            <a:lnTo>
                              <a:pt x="12" y="2"/>
                            </a:lnTo>
                            <a:lnTo>
                              <a:pt x="10" y="0"/>
                            </a:lnTo>
                            <a:lnTo>
                              <a:pt x="0" y="78"/>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59" name="Freeform 3033"/>
                      <p:cNvSpPr>
                        <a:spLocks/>
                      </p:cNvSpPr>
                      <p:nvPr/>
                    </p:nvSpPr>
                    <p:spPr bwMode="auto">
                      <a:xfrm>
                        <a:off x="4420" y="1757"/>
                        <a:ext cx="92" cy="192"/>
                      </a:xfrm>
                      <a:custGeom>
                        <a:avLst/>
                        <a:gdLst/>
                        <a:ahLst/>
                        <a:cxnLst>
                          <a:cxn ang="0">
                            <a:pos x="58" y="60"/>
                          </a:cxn>
                          <a:cxn ang="0">
                            <a:pos x="0" y="192"/>
                          </a:cxn>
                          <a:cxn ang="0">
                            <a:pos x="92" y="0"/>
                          </a:cxn>
                          <a:cxn ang="0">
                            <a:pos x="58" y="60"/>
                          </a:cxn>
                        </a:cxnLst>
                        <a:rect l="0" t="0" r="r" b="b"/>
                        <a:pathLst>
                          <a:path w="92" h="192">
                            <a:moveTo>
                              <a:pt x="58" y="60"/>
                            </a:moveTo>
                            <a:lnTo>
                              <a:pt x="0" y="192"/>
                            </a:lnTo>
                            <a:lnTo>
                              <a:pt x="92" y="0"/>
                            </a:lnTo>
                            <a:lnTo>
                              <a:pt x="58" y="6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0" name="Freeform 3034"/>
                      <p:cNvSpPr>
                        <a:spLocks/>
                      </p:cNvSpPr>
                      <p:nvPr/>
                    </p:nvSpPr>
                    <p:spPr bwMode="auto">
                      <a:xfrm>
                        <a:off x="4522" y="1671"/>
                        <a:ext cx="2" cy="6"/>
                      </a:xfrm>
                      <a:custGeom>
                        <a:avLst/>
                        <a:gdLst/>
                        <a:ahLst/>
                        <a:cxnLst>
                          <a:cxn ang="0">
                            <a:pos x="0" y="6"/>
                          </a:cxn>
                          <a:cxn ang="0">
                            <a:pos x="2" y="2"/>
                          </a:cxn>
                          <a:cxn ang="0">
                            <a:pos x="0" y="0"/>
                          </a:cxn>
                          <a:cxn ang="0">
                            <a:pos x="0" y="6"/>
                          </a:cxn>
                        </a:cxnLst>
                        <a:rect l="0" t="0" r="r" b="b"/>
                        <a:pathLst>
                          <a:path w="2" h="6">
                            <a:moveTo>
                              <a:pt x="0" y="6"/>
                            </a:moveTo>
                            <a:lnTo>
                              <a:pt x="2" y="2"/>
                            </a:lnTo>
                            <a:lnTo>
                              <a:pt x="0" y="0"/>
                            </a:lnTo>
                            <a:lnTo>
                              <a:pt x="0" y="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1" name="Freeform 3035"/>
                      <p:cNvSpPr>
                        <a:spLocks/>
                      </p:cNvSpPr>
                      <p:nvPr/>
                    </p:nvSpPr>
                    <p:spPr bwMode="auto">
                      <a:xfrm>
                        <a:off x="4122" y="1471"/>
                        <a:ext cx="396" cy="468"/>
                      </a:xfrm>
                      <a:custGeom>
                        <a:avLst/>
                        <a:gdLst/>
                        <a:ahLst/>
                        <a:cxnLst>
                          <a:cxn ang="0">
                            <a:pos x="282" y="50"/>
                          </a:cxn>
                          <a:cxn ang="0">
                            <a:pos x="234" y="78"/>
                          </a:cxn>
                          <a:cxn ang="0">
                            <a:pos x="206" y="104"/>
                          </a:cxn>
                          <a:cxn ang="0">
                            <a:pos x="142" y="84"/>
                          </a:cxn>
                          <a:cxn ang="0">
                            <a:pos x="0" y="128"/>
                          </a:cxn>
                          <a:cxn ang="0">
                            <a:pos x="66" y="422"/>
                          </a:cxn>
                          <a:cxn ang="0">
                            <a:pos x="172" y="460"/>
                          </a:cxn>
                          <a:cxn ang="0">
                            <a:pos x="264" y="448"/>
                          </a:cxn>
                          <a:cxn ang="0">
                            <a:pos x="298" y="468"/>
                          </a:cxn>
                          <a:cxn ang="0">
                            <a:pos x="354" y="344"/>
                          </a:cxn>
                          <a:cxn ang="0">
                            <a:pos x="386" y="284"/>
                          </a:cxn>
                          <a:cxn ang="0">
                            <a:pos x="396" y="200"/>
                          </a:cxn>
                          <a:cxn ang="0">
                            <a:pos x="332" y="22"/>
                          </a:cxn>
                          <a:cxn ang="0">
                            <a:pos x="324" y="0"/>
                          </a:cxn>
                          <a:cxn ang="0">
                            <a:pos x="282" y="50"/>
                          </a:cxn>
                        </a:cxnLst>
                        <a:rect l="0" t="0" r="r" b="b"/>
                        <a:pathLst>
                          <a:path w="396" h="468">
                            <a:moveTo>
                              <a:pt x="282" y="50"/>
                            </a:moveTo>
                            <a:lnTo>
                              <a:pt x="234" y="78"/>
                            </a:lnTo>
                            <a:lnTo>
                              <a:pt x="206" y="104"/>
                            </a:lnTo>
                            <a:lnTo>
                              <a:pt x="142" y="84"/>
                            </a:lnTo>
                            <a:lnTo>
                              <a:pt x="0" y="128"/>
                            </a:lnTo>
                            <a:lnTo>
                              <a:pt x="66" y="422"/>
                            </a:lnTo>
                            <a:lnTo>
                              <a:pt x="172" y="460"/>
                            </a:lnTo>
                            <a:lnTo>
                              <a:pt x="264" y="448"/>
                            </a:lnTo>
                            <a:lnTo>
                              <a:pt x="298" y="468"/>
                            </a:lnTo>
                            <a:lnTo>
                              <a:pt x="354" y="344"/>
                            </a:lnTo>
                            <a:lnTo>
                              <a:pt x="386" y="284"/>
                            </a:lnTo>
                            <a:lnTo>
                              <a:pt x="396" y="200"/>
                            </a:lnTo>
                            <a:lnTo>
                              <a:pt x="332" y="22"/>
                            </a:lnTo>
                            <a:lnTo>
                              <a:pt x="324" y="0"/>
                            </a:lnTo>
                            <a:lnTo>
                              <a:pt x="282" y="5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2" name="Freeform 3036"/>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3" name="Freeform 3037"/>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4" name="Freeform 3038"/>
                      <p:cNvSpPr>
                        <a:spLocks/>
                      </p:cNvSpPr>
                      <p:nvPr/>
                    </p:nvSpPr>
                    <p:spPr bwMode="auto">
                      <a:xfrm>
                        <a:off x="4534" y="1321"/>
                        <a:ext cx="472" cy="260"/>
                      </a:xfrm>
                      <a:custGeom>
                        <a:avLst/>
                        <a:gdLst/>
                        <a:ahLst/>
                        <a:cxnLst>
                          <a:cxn ang="0">
                            <a:pos x="472" y="190"/>
                          </a:cxn>
                          <a:cxn ang="0">
                            <a:pos x="434" y="138"/>
                          </a:cxn>
                          <a:cxn ang="0">
                            <a:pos x="444" y="68"/>
                          </a:cxn>
                          <a:cxn ang="0">
                            <a:pos x="364" y="0"/>
                          </a:cxn>
                          <a:cxn ang="0">
                            <a:pos x="0" y="120"/>
                          </a:cxn>
                          <a:cxn ang="0">
                            <a:pos x="364" y="4"/>
                          </a:cxn>
                          <a:cxn ang="0">
                            <a:pos x="440" y="70"/>
                          </a:cxn>
                          <a:cxn ang="0">
                            <a:pos x="430" y="138"/>
                          </a:cxn>
                          <a:cxn ang="0">
                            <a:pos x="470" y="190"/>
                          </a:cxn>
                          <a:cxn ang="0">
                            <a:pos x="442" y="260"/>
                          </a:cxn>
                          <a:cxn ang="0">
                            <a:pos x="444" y="258"/>
                          </a:cxn>
                          <a:cxn ang="0">
                            <a:pos x="472" y="190"/>
                          </a:cxn>
                        </a:cxnLst>
                        <a:rect l="0" t="0" r="r" b="b"/>
                        <a:pathLst>
                          <a:path w="472" h="260">
                            <a:moveTo>
                              <a:pt x="472" y="190"/>
                            </a:moveTo>
                            <a:lnTo>
                              <a:pt x="434" y="138"/>
                            </a:lnTo>
                            <a:lnTo>
                              <a:pt x="444" y="68"/>
                            </a:lnTo>
                            <a:lnTo>
                              <a:pt x="364" y="0"/>
                            </a:lnTo>
                            <a:lnTo>
                              <a:pt x="0" y="120"/>
                            </a:lnTo>
                            <a:lnTo>
                              <a:pt x="364" y="4"/>
                            </a:lnTo>
                            <a:lnTo>
                              <a:pt x="440" y="70"/>
                            </a:lnTo>
                            <a:lnTo>
                              <a:pt x="430" y="138"/>
                            </a:lnTo>
                            <a:lnTo>
                              <a:pt x="470" y="190"/>
                            </a:lnTo>
                            <a:lnTo>
                              <a:pt x="442" y="260"/>
                            </a:lnTo>
                            <a:lnTo>
                              <a:pt x="444" y="258"/>
                            </a:lnTo>
                            <a:lnTo>
                              <a:pt x="472" y="19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5" name="Freeform 3039"/>
                      <p:cNvSpPr>
                        <a:spLocks/>
                      </p:cNvSpPr>
                      <p:nvPr/>
                    </p:nvSpPr>
                    <p:spPr bwMode="auto">
                      <a:xfrm>
                        <a:off x="4516" y="1325"/>
                        <a:ext cx="382" cy="120"/>
                      </a:xfrm>
                      <a:custGeom>
                        <a:avLst/>
                        <a:gdLst/>
                        <a:ahLst/>
                        <a:cxnLst>
                          <a:cxn ang="0">
                            <a:pos x="0" y="72"/>
                          </a:cxn>
                          <a:cxn ang="0">
                            <a:pos x="16" y="120"/>
                          </a:cxn>
                          <a:cxn ang="0">
                            <a:pos x="382" y="0"/>
                          </a:cxn>
                          <a:cxn ang="0">
                            <a:pos x="18" y="116"/>
                          </a:cxn>
                          <a:cxn ang="0">
                            <a:pos x="2" y="70"/>
                          </a:cxn>
                          <a:cxn ang="0">
                            <a:pos x="0" y="72"/>
                          </a:cxn>
                        </a:cxnLst>
                        <a:rect l="0" t="0" r="r" b="b"/>
                        <a:pathLst>
                          <a:path w="382" h="120">
                            <a:moveTo>
                              <a:pt x="0" y="72"/>
                            </a:moveTo>
                            <a:lnTo>
                              <a:pt x="16" y="120"/>
                            </a:lnTo>
                            <a:lnTo>
                              <a:pt x="382" y="0"/>
                            </a:lnTo>
                            <a:lnTo>
                              <a:pt x="18" y="116"/>
                            </a:lnTo>
                            <a:lnTo>
                              <a:pt x="2" y="70"/>
                            </a:lnTo>
                            <a:lnTo>
                              <a:pt x="0" y="7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6" name="Freeform 3040"/>
                      <p:cNvSpPr>
                        <a:spLocks/>
                      </p:cNvSpPr>
                      <p:nvPr/>
                    </p:nvSpPr>
                    <p:spPr bwMode="auto">
                      <a:xfrm>
                        <a:off x="4946" y="1581"/>
                        <a:ext cx="126" cy="168"/>
                      </a:xfrm>
                      <a:custGeom>
                        <a:avLst/>
                        <a:gdLst/>
                        <a:ahLst/>
                        <a:cxnLst>
                          <a:cxn ang="0">
                            <a:pos x="0" y="10"/>
                          </a:cxn>
                          <a:cxn ang="0">
                            <a:pos x="62" y="168"/>
                          </a:cxn>
                          <a:cxn ang="0">
                            <a:pos x="126" y="142"/>
                          </a:cxn>
                          <a:cxn ang="0">
                            <a:pos x="126" y="80"/>
                          </a:cxn>
                          <a:cxn ang="0">
                            <a:pos x="30" y="2"/>
                          </a:cxn>
                          <a:cxn ang="0">
                            <a:pos x="30" y="0"/>
                          </a:cxn>
                          <a:cxn ang="0">
                            <a:pos x="0" y="10"/>
                          </a:cxn>
                        </a:cxnLst>
                        <a:rect l="0" t="0" r="r" b="b"/>
                        <a:pathLst>
                          <a:path w="126" h="168">
                            <a:moveTo>
                              <a:pt x="0" y="10"/>
                            </a:moveTo>
                            <a:lnTo>
                              <a:pt x="62" y="168"/>
                            </a:lnTo>
                            <a:lnTo>
                              <a:pt x="126" y="142"/>
                            </a:lnTo>
                            <a:lnTo>
                              <a:pt x="126" y="80"/>
                            </a:lnTo>
                            <a:lnTo>
                              <a:pt x="30" y="2"/>
                            </a:lnTo>
                            <a:lnTo>
                              <a:pt x="30" y="0"/>
                            </a:lnTo>
                            <a:lnTo>
                              <a:pt x="0" y="1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7" name="Freeform 3041"/>
                      <p:cNvSpPr>
                        <a:spLocks/>
                      </p:cNvSpPr>
                      <p:nvPr/>
                    </p:nvSpPr>
                    <p:spPr bwMode="auto">
                      <a:xfrm>
                        <a:off x="4446" y="1325"/>
                        <a:ext cx="558" cy="398"/>
                      </a:xfrm>
                      <a:custGeom>
                        <a:avLst/>
                        <a:gdLst/>
                        <a:ahLst/>
                        <a:cxnLst>
                          <a:cxn ang="0">
                            <a:pos x="528" y="66"/>
                          </a:cxn>
                          <a:cxn ang="0">
                            <a:pos x="452" y="0"/>
                          </a:cxn>
                          <a:cxn ang="0">
                            <a:pos x="86" y="120"/>
                          </a:cxn>
                          <a:cxn ang="0">
                            <a:pos x="70" y="72"/>
                          </a:cxn>
                          <a:cxn ang="0">
                            <a:pos x="72" y="70"/>
                          </a:cxn>
                          <a:cxn ang="0">
                            <a:pos x="88" y="116"/>
                          </a:cxn>
                          <a:cxn ang="0">
                            <a:pos x="72" y="64"/>
                          </a:cxn>
                          <a:cxn ang="0">
                            <a:pos x="0" y="146"/>
                          </a:cxn>
                          <a:cxn ang="0">
                            <a:pos x="8" y="168"/>
                          </a:cxn>
                          <a:cxn ang="0">
                            <a:pos x="2" y="150"/>
                          </a:cxn>
                          <a:cxn ang="0">
                            <a:pos x="4" y="144"/>
                          </a:cxn>
                          <a:cxn ang="0">
                            <a:pos x="78" y="344"/>
                          </a:cxn>
                          <a:cxn ang="0">
                            <a:pos x="76" y="346"/>
                          </a:cxn>
                          <a:cxn ang="0">
                            <a:pos x="78" y="348"/>
                          </a:cxn>
                          <a:cxn ang="0">
                            <a:pos x="96" y="398"/>
                          </a:cxn>
                          <a:cxn ang="0">
                            <a:pos x="182" y="372"/>
                          </a:cxn>
                          <a:cxn ang="0">
                            <a:pos x="180" y="372"/>
                          </a:cxn>
                          <a:cxn ang="0">
                            <a:pos x="498" y="262"/>
                          </a:cxn>
                          <a:cxn ang="0">
                            <a:pos x="498" y="262"/>
                          </a:cxn>
                          <a:cxn ang="0">
                            <a:pos x="498" y="262"/>
                          </a:cxn>
                          <a:cxn ang="0">
                            <a:pos x="528" y="252"/>
                          </a:cxn>
                          <a:cxn ang="0">
                            <a:pos x="558" y="186"/>
                          </a:cxn>
                          <a:cxn ang="0">
                            <a:pos x="518" y="134"/>
                          </a:cxn>
                          <a:cxn ang="0">
                            <a:pos x="528" y="66"/>
                          </a:cxn>
                        </a:cxnLst>
                        <a:rect l="0" t="0" r="r" b="b"/>
                        <a:pathLst>
                          <a:path w="558" h="398">
                            <a:moveTo>
                              <a:pt x="528" y="66"/>
                            </a:moveTo>
                            <a:lnTo>
                              <a:pt x="452" y="0"/>
                            </a:lnTo>
                            <a:lnTo>
                              <a:pt x="86" y="120"/>
                            </a:lnTo>
                            <a:lnTo>
                              <a:pt x="70" y="72"/>
                            </a:lnTo>
                            <a:lnTo>
                              <a:pt x="72" y="70"/>
                            </a:lnTo>
                            <a:lnTo>
                              <a:pt x="88" y="116"/>
                            </a:lnTo>
                            <a:lnTo>
                              <a:pt x="72" y="64"/>
                            </a:lnTo>
                            <a:lnTo>
                              <a:pt x="0" y="146"/>
                            </a:lnTo>
                            <a:lnTo>
                              <a:pt x="8" y="168"/>
                            </a:lnTo>
                            <a:lnTo>
                              <a:pt x="2" y="150"/>
                            </a:lnTo>
                            <a:lnTo>
                              <a:pt x="4" y="144"/>
                            </a:lnTo>
                            <a:lnTo>
                              <a:pt x="78" y="344"/>
                            </a:lnTo>
                            <a:lnTo>
                              <a:pt x="76" y="346"/>
                            </a:lnTo>
                            <a:lnTo>
                              <a:pt x="78" y="348"/>
                            </a:lnTo>
                            <a:lnTo>
                              <a:pt x="96" y="398"/>
                            </a:lnTo>
                            <a:lnTo>
                              <a:pt x="182" y="372"/>
                            </a:lnTo>
                            <a:lnTo>
                              <a:pt x="180" y="372"/>
                            </a:lnTo>
                            <a:lnTo>
                              <a:pt x="498" y="262"/>
                            </a:lnTo>
                            <a:lnTo>
                              <a:pt x="498" y="262"/>
                            </a:lnTo>
                            <a:lnTo>
                              <a:pt x="498" y="262"/>
                            </a:lnTo>
                            <a:lnTo>
                              <a:pt x="528" y="252"/>
                            </a:lnTo>
                            <a:lnTo>
                              <a:pt x="558" y="186"/>
                            </a:lnTo>
                            <a:lnTo>
                              <a:pt x="518" y="134"/>
                            </a:lnTo>
                            <a:lnTo>
                              <a:pt x="528" y="6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8" name="Freeform 3042"/>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69" name="Freeform 3043"/>
                      <p:cNvSpPr>
                        <a:spLocks/>
                      </p:cNvSpPr>
                      <p:nvPr/>
                    </p:nvSpPr>
                    <p:spPr bwMode="auto">
                      <a:xfrm>
                        <a:off x="4982" y="1389"/>
                        <a:ext cx="74" cy="18"/>
                      </a:xfrm>
                      <a:custGeom>
                        <a:avLst/>
                        <a:gdLst/>
                        <a:ahLst/>
                        <a:cxnLst>
                          <a:cxn ang="0">
                            <a:pos x="0" y="2"/>
                          </a:cxn>
                          <a:cxn ang="0">
                            <a:pos x="74" y="18"/>
                          </a:cxn>
                          <a:cxn ang="0">
                            <a:pos x="14" y="4"/>
                          </a:cxn>
                          <a:cxn ang="0">
                            <a:pos x="0" y="0"/>
                          </a:cxn>
                          <a:cxn ang="0">
                            <a:pos x="0" y="2"/>
                          </a:cxn>
                        </a:cxnLst>
                        <a:rect l="0" t="0" r="r" b="b"/>
                        <a:pathLst>
                          <a:path w="74" h="18">
                            <a:moveTo>
                              <a:pt x="0" y="2"/>
                            </a:moveTo>
                            <a:lnTo>
                              <a:pt x="74" y="18"/>
                            </a:lnTo>
                            <a:lnTo>
                              <a:pt x="14" y="4"/>
                            </a:lnTo>
                            <a:lnTo>
                              <a:pt x="0" y="0"/>
                            </a:lnTo>
                            <a:lnTo>
                              <a:pt x="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0" name="Freeform 3044"/>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1" name="Freeform 3045"/>
                      <p:cNvSpPr>
                        <a:spLocks/>
                      </p:cNvSpPr>
                      <p:nvPr/>
                    </p:nvSpPr>
                    <p:spPr bwMode="auto">
                      <a:xfrm>
                        <a:off x="5056" y="1407"/>
                        <a:ext cx="50" cy="14"/>
                      </a:xfrm>
                      <a:custGeom>
                        <a:avLst/>
                        <a:gdLst/>
                        <a:ahLst/>
                        <a:cxnLst>
                          <a:cxn ang="0">
                            <a:pos x="50" y="12"/>
                          </a:cxn>
                          <a:cxn ang="0">
                            <a:pos x="0" y="0"/>
                          </a:cxn>
                          <a:cxn ang="0">
                            <a:pos x="50" y="14"/>
                          </a:cxn>
                          <a:cxn ang="0">
                            <a:pos x="50" y="12"/>
                          </a:cxn>
                        </a:cxnLst>
                        <a:rect l="0" t="0" r="r" b="b"/>
                        <a:pathLst>
                          <a:path w="50" h="14">
                            <a:moveTo>
                              <a:pt x="50" y="12"/>
                            </a:moveTo>
                            <a:lnTo>
                              <a:pt x="0" y="0"/>
                            </a:lnTo>
                            <a:lnTo>
                              <a:pt x="50" y="14"/>
                            </a:lnTo>
                            <a:lnTo>
                              <a:pt x="50" y="1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2" name="Freeform 3046"/>
                      <p:cNvSpPr>
                        <a:spLocks/>
                      </p:cNvSpPr>
                      <p:nvPr/>
                    </p:nvSpPr>
                    <p:spPr bwMode="auto">
                      <a:xfrm>
                        <a:off x="4968" y="1387"/>
                        <a:ext cx="138" cy="268"/>
                      </a:xfrm>
                      <a:custGeom>
                        <a:avLst/>
                        <a:gdLst/>
                        <a:ahLst/>
                        <a:cxnLst>
                          <a:cxn ang="0">
                            <a:pos x="10" y="2"/>
                          </a:cxn>
                          <a:cxn ang="0">
                            <a:pos x="0" y="72"/>
                          </a:cxn>
                          <a:cxn ang="0">
                            <a:pos x="38" y="124"/>
                          </a:cxn>
                          <a:cxn ang="0">
                            <a:pos x="10" y="192"/>
                          </a:cxn>
                          <a:cxn ang="0">
                            <a:pos x="8" y="194"/>
                          </a:cxn>
                          <a:cxn ang="0">
                            <a:pos x="8" y="196"/>
                          </a:cxn>
                          <a:cxn ang="0">
                            <a:pos x="10" y="194"/>
                          </a:cxn>
                          <a:cxn ang="0">
                            <a:pos x="104" y="268"/>
                          </a:cxn>
                          <a:cxn ang="0">
                            <a:pos x="104" y="226"/>
                          </a:cxn>
                          <a:cxn ang="0">
                            <a:pos x="134" y="80"/>
                          </a:cxn>
                          <a:cxn ang="0">
                            <a:pos x="104" y="56"/>
                          </a:cxn>
                          <a:cxn ang="0">
                            <a:pos x="136" y="40"/>
                          </a:cxn>
                          <a:cxn ang="0">
                            <a:pos x="138" y="34"/>
                          </a:cxn>
                          <a:cxn ang="0">
                            <a:pos x="88" y="20"/>
                          </a:cxn>
                          <a:cxn ang="0">
                            <a:pos x="14" y="4"/>
                          </a:cxn>
                          <a:cxn ang="0">
                            <a:pos x="14" y="2"/>
                          </a:cxn>
                          <a:cxn ang="0">
                            <a:pos x="28" y="6"/>
                          </a:cxn>
                          <a:cxn ang="0">
                            <a:pos x="6" y="0"/>
                          </a:cxn>
                          <a:cxn ang="0">
                            <a:pos x="10" y="2"/>
                          </a:cxn>
                        </a:cxnLst>
                        <a:rect l="0" t="0" r="r" b="b"/>
                        <a:pathLst>
                          <a:path w="138" h="268">
                            <a:moveTo>
                              <a:pt x="10" y="2"/>
                            </a:moveTo>
                            <a:lnTo>
                              <a:pt x="0" y="72"/>
                            </a:lnTo>
                            <a:lnTo>
                              <a:pt x="38" y="124"/>
                            </a:lnTo>
                            <a:lnTo>
                              <a:pt x="10" y="192"/>
                            </a:lnTo>
                            <a:lnTo>
                              <a:pt x="8" y="194"/>
                            </a:lnTo>
                            <a:lnTo>
                              <a:pt x="8" y="196"/>
                            </a:lnTo>
                            <a:lnTo>
                              <a:pt x="10" y="194"/>
                            </a:lnTo>
                            <a:lnTo>
                              <a:pt x="104" y="268"/>
                            </a:lnTo>
                            <a:lnTo>
                              <a:pt x="104" y="226"/>
                            </a:lnTo>
                            <a:lnTo>
                              <a:pt x="134" y="80"/>
                            </a:lnTo>
                            <a:lnTo>
                              <a:pt x="104" y="56"/>
                            </a:lnTo>
                            <a:lnTo>
                              <a:pt x="136" y="40"/>
                            </a:lnTo>
                            <a:lnTo>
                              <a:pt x="138" y="34"/>
                            </a:lnTo>
                            <a:lnTo>
                              <a:pt x="88" y="20"/>
                            </a:lnTo>
                            <a:lnTo>
                              <a:pt x="14" y="4"/>
                            </a:lnTo>
                            <a:lnTo>
                              <a:pt x="14" y="2"/>
                            </a:lnTo>
                            <a:lnTo>
                              <a:pt x="28" y="6"/>
                            </a:lnTo>
                            <a:lnTo>
                              <a:pt x="6" y="0"/>
                            </a:lnTo>
                            <a:lnTo>
                              <a:pt x="10" y="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3" name="Freeform 3047"/>
                      <p:cNvSpPr>
                        <a:spLocks/>
                      </p:cNvSpPr>
                      <p:nvPr/>
                    </p:nvSpPr>
                    <p:spPr bwMode="auto">
                      <a:xfrm>
                        <a:off x="5054" y="1253"/>
                        <a:ext cx="12" cy="82"/>
                      </a:xfrm>
                      <a:custGeom>
                        <a:avLst/>
                        <a:gdLst/>
                        <a:ahLst/>
                        <a:cxnLst>
                          <a:cxn ang="0">
                            <a:pos x="12" y="82"/>
                          </a:cxn>
                          <a:cxn ang="0">
                            <a:pos x="0" y="0"/>
                          </a:cxn>
                          <a:cxn ang="0">
                            <a:pos x="6" y="58"/>
                          </a:cxn>
                          <a:cxn ang="0">
                            <a:pos x="12" y="82"/>
                          </a:cxn>
                        </a:cxnLst>
                        <a:rect l="0" t="0" r="r" b="b"/>
                        <a:pathLst>
                          <a:path w="12" h="82">
                            <a:moveTo>
                              <a:pt x="12" y="82"/>
                            </a:moveTo>
                            <a:lnTo>
                              <a:pt x="0" y="0"/>
                            </a:lnTo>
                            <a:lnTo>
                              <a:pt x="6" y="58"/>
                            </a:lnTo>
                            <a:lnTo>
                              <a:pt x="12" y="8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4" name="Freeform 3048"/>
                      <p:cNvSpPr>
                        <a:spLocks/>
                      </p:cNvSpPr>
                      <p:nvPr/>
                    </p:nvSpPr>
                    <p:spPr bwMode="auto">
                      <a:xfrm>
                        <a:off x="4952" y="895"/>
                        <a:ext cx="102" cy="358"/>
                      </a:xfrm>
                      <a:custGeom>
                        <a:avLst/>
                        <a:gdLst/>
                        <a:ahLst/>
                        <a:cxnLst>
                          <a:cxn ang="0">
                            <a:pos x="38" y="132"/>
                          </a:cxn>
                          <a:cxn ang="0">
                            <a:pos x="102" y="358"/>
                          </a:cxn>
                          <a:cxn ang="0">
                            <a:pos x="80" y="276"/>
                          </a:cxn>
                          <a:cxn ang="0">
                            <a:pos x="40" y="132"/>
                          </a:cxn>
                          <a:cxn ang="0">
                            <a:pos x="2" y="0"/>
                          </a:cxn>
                          <a:cxn ang="0">
                            <a:pos x="0" y="0"/>
                          </a:cxn>
                          <a:cxn ang="0">
                            <a:pos x="8" y="34"/>
                          </a:cxn>
                          <a:cxn ang="0">
                            <a:pos x="38" y="132"/>
                          </a:cxn>
                        </a:cxnLst>
                        <a:rect l="0" t="0" r="r" b="b"/>
                        <a:pathLst>
                          <a:path w="102" h="358">
                            <a:moveTo>
                              <a:pt x="38" y="132"/>
                            </a:moveTo>
                            <a:lnTo>
                              <a:pt x="102" y="358"/>
                            </a:lnTo>
                            <a:lnTo>
                              <a:pt x="80" y="276"/>
                            </a:lnTo>
                            <a:lnTo>
                              <a:pt x="40" y="132"/>
                            </a:lnTo>
                            <a:lnTo>
                              <a:pt x="2" y="0"/>
                            </a:lnTo>
                            <a:lnTo>
                              <a:pt x="0" y="0"/>
                            </a:lnTo>
                            <a:lnTo>
                              <a:pt x="8" y="34"/>
                            </a:lnTo>
                            <a:lnTo>
                              <a:pt x="38" y="132"/>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5" name="Freeform 3049"/>
                      <p:cNvSpPr>
                        <a:spLocks/>
                      </p:cNvSpPr>
                      <p:nvPr/>
                    </p:nvSpPr>
                    <p:spPr bwMode="auto">
                      <a:xfrm>
                        <a:off x="4952" y="895"/>
                        <a:ext cx="8" cy="34"/>
                      </a:xfrm>
                      <a:custGeom>
                        <a:avLst/>
                        <a:gdLst/>
                        <a:ahLst/>
                        <a:cxnLst>
                          <a:cxn ang="0">
                            <a:pos x="8" y="34"/>
                          </a:cxn>
                          <a:cxn ang="0">
                            <a:pos x="0" y="0"/>
                          </a:cxn>
                          <a:cxn ang="0">
                            <a:pos x="0" y="0"/>
                          </a:cxn>
                          <a:cxn ang="0">
                            <a:pos x="8" y="34"/>
                          </a:cxn>
                        </a:cxnLst>
                        <a:rect l="0" t="0" r="r" b="b"/>
                        <a:pathLst>
                          <a:path w="8" h="34">
                            <a:moveTo>
                              <a:pt x="8" y="34"/>
                            </a:moveTo>
                            <a:lnTo>
                              <a:pt x="0" y="0"/>
                            </a:lnTo>
                            <a:lnTo>
                              <a:pt x="0" y="0"/>
                            </a:lnTo>
                            <a:lnTo>
                              <a:pt x="8" y="3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6" name="Freeform 3050"/>
                      <p:cNvSpPr>
                        <a:spLocks/>
                      </p:cNvSpPr>
                      <p:nvPr/>
                    </p:nvSpPr>
                    <p:spPr bwMode="auto">
                      <a:xfrm>
                        <a:off x="5066" y="1335"/>
                        <a:ext cx="50" cy="54"/>
                      </a:xfrm>
                      <a:custGeom>
                        <a:avLst/>
                        <a:gdLst/>
                        <a:ahLst/>
                        <a:cxnLst>
                          <a:cxn ang="0">
                            <a:pos x="50" y="54"/>
                          </a:cxn>
                          <a:cxn ang="0">
                            <a:pos x="0" y="0"/>
                          </a:cxn>
                          <a:cxn ang="0">
                            <a:pos x="46" y="50"/>
                          </a:cxn>
                          <a:cxn ang="0">
                            <a:pos x="50" y="54"/>
                          </a:cxn>
                        </a:cxnLst>
                        <a:rect l="0" t="0" r="r" b="b"/>
                        <a:pathLst>
                          <a:path w="50" h="54">
                            <a:moveTo>
                              <a:pt x="50" y="54"/>
                            </a:moveTo>
                            <a:lnTo>
                              <a:pt x="0" y="0"/>
                            </a:lnTo>
                            <a:lnTo>
                              <a:pt x="46" y="50"/>
                            </a:lnTo>
                            <a:lnTo>
                              <a:pt x="50" y="54"/>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477" name="Freeform 3051"/>
                      <p:cNvSpPr>
                        <a:spLocks/>
                      </p:cNvSpPr>
                      <p:nvPr/>
                    </p:nvSpPr>
                    <p:spPr bwMode="auto">
                      <a:xfrm>
                        <a:off x="5060" y="1311"/>
                        <a:ext cx="52" cy="74"/>
                      </a:xfrm>
                      <a:custGeom>
                        <a:avLst/>
                        <a:gdLst/>
                        <a:ahLst/>
                        <a:cxnLst>
                          <a:cxn ang="0">
                            <a:pos x="4" y="26"/>
                          </a:cxn>
                          <a:cxn ang="0">
                            <a:pos x="52" y="74"/>
                          </a:cxn>
                          <a:cxn ang="0">
                            <a:pos x="6" y="24"/>
                          </a:cxn>
                          <a:cxn ang="0">
                            <a:pos x="0" y="0"/>
                          </a:cxn>
                          <a:cxn ang="0">
                            <a:pos x="4" y="26"/>
                          </a:cxn>
                        </a:cxnLst>
                        <a:rect l="0" t="0" r="r" b="b"/>
                        <a:pathLst>
                          <a:path w="52" h="74">
                            <a:moveTo>
                              <a:pt x="4" y="26"/>
                            </a:moveTo>
                            <a:lnTo>
                              <a:pt x="52" y="74"/>
                            </a:lnTo>
                            <a:lnTo>
                              <a:pt x="6" y="24"/>
                            </a:lnTo>
                            <a:lnTo>
                              <a:pt x="0" y="0"/>
                            </a:lnTo>
                            <a:lnTo>
                              <a:pt x="4" y="26"/>
                            </a:lnTo>
                            <a:close/>
                          </a:path>
                        </a:pathLst>
                      </a:cu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sp>
                  <p:nvSpPr>
                    <p:cNvPr id="283" name="Line 3080"/>
                    <p:cNvSpPr>
                      <a:spLocks noChangeShapeType="1"/>
                    </p:cNvSpPr>
                    <p:nvPr/>
                  </p:nvSpPr>
                  <p:spPr bwMode="auto">
                    <a:xfrm>
                      <a:off x="4360909" y="5385612"/>
                      <a:ext cx="1493" cy="1493"/>
                    </a:xfrm>
                    <a:prstGeom prst="line">
                      <a:avLst/>
                    </a:pr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sp>
                <p:nvSpPr>
                  <p:cNvPr id="278" name="Line 3117"/>
                  <p:cNvSpPr>
                    <a:spLocks noChangeShapeType="1"/>
                  </p:cNvSpPr>
                  <p:nvPr/>
                </p:nvSpPr>
                <p:spPr bwMode="auto">
                  <a:xfrm>
                    <a:off x="7947449" y="1089044"/>
                    <a:ext cx="1493" cy="1493"/>
                  </a:xfrm>
                  <a:prstGeom prst="line">
                    <a:avLst/>
                  </a:prstGeom>
                  <a:grpFill/>
                  <a:ln w="6350">
                    <a:solidFill>
                      <a:schemeClr val="tx1">
                        <a:lumMod val="50000"/>
                        <a:lumOff val="50000"/>
                      </a:schemeClr>
                    </a:solidFill>
                    <a:round/>
                    <a:headEnd/>
                    <a:tailEnd/>
                  </a:ln>
                </p:spPr>
                <p:txBody>
                  <a:bodyPr/>
                  <a:lstStyle/>
                  <a:p>
                    <a:pPr>
                      <a:defRPr/>
                    </a:pPr>
                    <a:endParaRPr lang="da-DK" sz="800">
                      <a:solidFill>
                        <a:prstClr val="black"/>
                      </a:solidFill>
                    </a:endParaRPr>
                  </a:p>
                </p:txBody>
              </p:sp>
              <p:sp>
                <p:nvSpPr>
                  <p:cNvPr id="279" name="Line 3118"/>
                  <p:cNvSpPr>
                    <a:spLocks noChangeShapeType="1"/>
                  </p:cNvSpPr>
                  <p:nvPr/>
                </p:nvSpPr>
                <p:spPr bwMode="auto">
                  <a:xfrm>
                    <a:off x="7947449" y="1089044"/>
                    <a:ext cx="1493" cy="1493"/>
                  </a:xfrm>
                  <a:prstGeom prst="line">
                    <a:avLst/>
                  </a:prstGeom>
                  <a:grpFill/>
                  <a:ln w="6350">
                    <a:solidFill>
                      <a:schemeClr val="tx1">
                        <a:lumMod val="50000"/>
                        <a:lumOff val="50000"/>
                      </a:schemeClr>
                    </a:solidFill>
                    <a:round/>
                    <a:headEnd/>
                    <a:tailEnd/>
                  </a:ln>
                </p:spPr>
                <p:txBody>
                  <a:bodyPr/>
                  <a:lstStyle/>
                  <a:p>
                    <a:pPr>
                      <a:defRPr/>
                    </a:pPr>
                    <a:endParaRPr lang="da-DK" sz="800">
                      <a:solidFill>
                        <a:prstClr val="black"/>
                      </a:solidFill>
                    </a:endParaRPr>
                  </a:p>
                </p:txBody>
              </p:sp>
              <p:sp>
                <p:nvSpPr>
                  <p:cNvPr id="280" name="Line 3119"/>
                  <p:cNvSpPr>
                    <a:spLocks noChangeShapeType="1"/>
                  </p:cNvSpPr>
                  <p:nvPr/>
                </p:nvSpPr>
                <p:spPr bwMode="auto">
                  <a:xfrm>
                    <a:off x="7875804" y="1954760"/>
                    <a:ext cx="1493" cy="1493"/>
                  </a:xfrm>
                  <a:prstGeom prst="line">
                    <a:avLst/>
                  </a:pr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sp>
                <p:nvSpPr>
                  <p:cNvPr id="281" name="Line 3120"/>
                  <p:cNvSpPr>
                    <a:spLocks noChangeShapeType="1"/>
                  </p:cNvSpPr>
                  <p:nvPr/>
                </p:nvSpPr>
                <p:spPr bwMode="auto">
                  <a:xfrm>
                    <a:off x="8240002" y="1742809"/>
                    <a:ext cx="1493" cy="1493"/>
                  </a:xfrm>
                  <a:prstGeom prst="line">
                    <a:avLst/>
                  </a:prstGeom>
                  <a:grpFill/>
                  <a:ln w="6350">
                    <a:solidFill>
                      <a:schemeClr val="tx1">
                        <a:lumMod val="50000"/>
                        <a:lumOff val="50000"/>
                      </a:schemeClr>
                    </a:solidFill>
                    <a:prstDash val="solid"/>
                    <a:round/>
                    <a:headEnd/>
                    <a:tailEnd/>
                  </a:ln>
                </p:spPr>
                <p:txBody>
                  <a:bodyPr/>
                  <a:lstStyle/>
                  <a:p>
                    <a:pPr>
                      <a:defRPr/>
                    </a:pPr>
                    <a:endParaRPr lang="da-DK" sz="800">
                      <a:solidFill>
                        <a:prstClr val="black"/>
                      </a:solidFill>
                    </a:endParaRPr>
                  </a:p>
                </p:txBody>
              </p:sp>
            </p:grpSp>
          </p:grpSp>
        </p:grpSp>
        <p:grpSp>
          <p:nvGrpSpPr>
            <p:cNvPr id="47" name="Gruppe 251"/>
            <p:cNvGrpSpPr/>
            <p:nvPr/>
          </p:nvGrpSpPr>
          <p:grpSpPr>
            <a:xfrm>
              <a:off x="1428728" y="1329541"/>
              <a:ext cx="6318000" cy="4385475"/>
              <a:chOff x="1449633" y="627625"/>
              <a:chExt cx="7103818" cy="4930930"/>
            </a:xfrm>
            <a:grpFill/>
            <a:effectLst/>
          </p:grpSpPr>
          <p:sp>
            <p:nvSpPr>
              <p:cNvPr id="48" name="Freeform 47"/>
              <p:cNvSpPr>
                <a:spLocks/>
              </p:cNvSpPr>
              <p:nvPr/>
            </p:nvSpPr>
            <p:spPr bwMode="auto">
              <a:xfrm>
                <a:off x="6058305" y="2788156"/>
                <a:ext cx="1017833" cy="564136"/>
              </a:xfrm>
              <a:custGeom>
                <a:avLst/>
                <a:gdLst/>
                <a:ahLst/>
                <a:cxnLst>
                  <a:cxn ang="0">
                    <a:pos x="630" y="82"/>
                  </a:cxn>
                  <a:cxn ang="0">
                    <a:pos x="616" y="40"/>
                  </a:cxn>
                  <a:cxn ang="0">
                    <a:pos x="592" y="24"/>
                  </a:cxn>
                  <a:cxn ang="0">
                    <a:pos x="502" y="36"/>
                  </a:cxn>
                  <a:cxn ang="0">
                    <a:pos x="396" y="0"/>
                  </a:cxn>
                  <a:cxn ang="0">
                    <a:pos x="400" y="12"/>
                  </a:cxn>
                  <a:cxn ang="0">
                    <a:pos x="360" y="52"/>
                  </a:cxn>
                  <a:cxn ang="0">
                    <a:pos x="310" y="162"/>
                  </a:cxn>
                  <a:cxn ang="0">
                    <a:pos x="280" y="148"/>
                  </a:cxn>
                  <a:cxn ang="0">
                    <a:pos x="200" y="204"/>
                  </a:cxn>
                  <a:cxn ang="0">
                    <a:pos x="176" y="188"/>
                  </a:cxn>
                  <a:cxn ang="0">
                    <a:pos x="122" y="232"/>
                  </a:cxn>
                  <a:cxn ang="0">
                    <a:pos x="122" y="228"/>
                  </a:cxn>
                  <a:cxn ang="0">
                    <a:pos x="176" y="184"/>
                  </a:cxn>
                  <a:cxn ang="0">
                    <a:pos x="122" y="224"/>
                  </a:cxn>
                  <a:cxn ang="0">
                    <a:pos x="118" y="256"/>
                  </a:cxn>
                  <a:cxn ang="0">
                    <a:pos x="76" y="312"/>
                  </a:cxn>
                  <a:cxn ang="0">
                    <a:pos x="26" y="286"/>
                  </a:cxn>
                  <a:cxn ang="0">
                    <a:pos x="4" y="330"/>
                  </a:cxn>
                  <a:cxn ang="0">
                    <a:pos x="0" y="322"/>
                  </a:cxn>
                  <a:cxn ang="0">
                    <a:pos x="6" y="378"/>
                  </a:cxn>
                  <a:cxn ang="0">
                    <a:pos x="26" y="376"/>
                  </a:cxn>
                  <a:cxn ang="0">
                    <a:pos x="306" y="330"/>
                  </a:cxn>
                  <a:cxn ang="0">
                    <a:pos x="568" y="276"/>
                  </a:cxn>
                  <a:cxn ang="0">
                    <a:pos x="632" y="202"/>
                  </a:cxn>
                  <a:cxn ang="0">
                    <a:pos x="682" y="104"/>
                  </a:cxn>
                  <a:cxn ang="0">
                    <a:pos x="630" y="82"/>
                  </a:cxn>
                </a:cxnLst>
                <a:rect l="0" t="0" r="r" b="b"/>
                <a:pathLst>
                  <a:path w="682" h="378">
                    <a:moveTo>
                      <a:pt x="630" y="82"/>
                    </a:moveTo>
                    <a:lnTo>
                      <a:pt x="616" y="40"/>
                    </a:lnTo>
                    <a:lnTo>
                      <a:pt x="592" y="24"/>
                    </a:lnTo>
                    <a:lnTo>
                      <a:pt x="502" y="36"/>
                    </a:lnTo>
                    <a:lnTo>
                      <a:pt x="396" y="0"/>
                    </a:lnTo>
                    <a:lnTo>
                      <a:pt x="400" y="12"/>
                    </a:lnTo>
                    <a:lnTo>
                      <a:pt x="360" y="52"/>
                    </a:lnTo>
                    <a:lnTo>
                      <a:pt x="310" y="162"/>
                    </a:lnTo>
                    <a:lnTo>
                      <a:pt x="280" y="148"/>
                    </a:lnTo>
                    <a:lnTo>
                      <a:pt x="200" y="204"/>
                    </a:lnTo>
                    <a:lnTo>
                      <a:pt x="176" y="188"/>
                    </a:lnTo>
                    <a:lnTo>
                      <a:pt x="122" y="232"/>
                    </a:lnTo>
                    <a:lnTo>
                      <a:pt x="122" y="228"/>
                    </a:lnTo>
                    <a:lnTo>
                      <a:pt x="176" y="184"/>
                    </a:lnTo>
                    <a:lnTo>
                      <a:pt x="122" y="224"/>
                    </a:lnTo>
                    <a:lnTo>
                      <a:pt x="118" y="256"/>
                    </a:lnTo>
                    <a:lnTo>
                      <a:pt x="76" y="312"/>
                    </a:lnTo>
                    <a:lnTo>
                      <a:pt x="26" y="286"/>
                    </a:lnTo>
                    <a:lnTo>
                      <a:pt x="4" y="330"/>
                    </a:lnTo>
                    <a:lnTo>
                      <a:pt x="0" y="322"/>
                    </a:lnTo>
                    <a:lnTo>
                      <a:pt x="6" y="378"/>
                    </a:lnTo>
                    <a:lnTo>
                      <a:pt x="26" y="376"/>
                    </a:lnTo>
                    <a:lnTo>
                      <a:pt x="306" y="330"/>
                    </a:lnTo>
                    <a:lnTo>
                      <a:pt x="568" y="276"/>
                    </a:lnTo>
                    <a:lnTo>
                      <a:pt x="632" y="202"/>
                    </a:lnTo>
                    <a:lnTo>
                      <a:pt x="682" y="104"/>
                    </a:lnTo>
                    <a:lnTo>
                      <a:pt x="630" y="8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49" name="Freeform 48"/>
              <p:cNvSpPr>
                <a:spLocks/>
              </p:cNvSpPr>
              <p:nvPr/>
            </p:nvSpPr>
            <p:spPr bwMode="auto">
              <a:xfrm>
                <a:off x="5200601" y="2732497"/>
                <a:ext cx="877545" cy="761136"/>
              </a:xfrm>
              <a:custGeom>
                <a:avLst/>
                <a:gdLst/>
                <a:ahLst/>
                <a:cxnLst>
                  <a:cxn ang="0">
                    <a:pos x="556" y="278"/>
                  </a:cxn>
                  <a:cxn ang="0">
                    <a:pos x="476" y="220"/>
                  </a:cxn>
                  <a:cxn ang="0">
                    <a:pos x="476" y="140"/>
                  </a:cxn>
                  <a:cxn ang="0">
                    <a:pos x="444" y="140"/>
                  </a:cxn>
                  <a:cxn ang="0">
                    <a:pos x="346" y="14"/>
                  </a:cxn>
                  <a:cxn ang="0">
                    <a:pos x="346" y="0"/>
                  </a:cxn>
                  <a:cxn ang="0">
                    <a:pos x="0" y="8"/>
                  </a:cxn>
                  <a:cxn ang="0">
                    <a:pos x="22" y="70"/>
                  </a:cxn>
                  <a:cxn ang="0">
                    <a:pos x="68" y="70"/>
                  </a:cxn>
                  <a:cxn ang="0">
                    <a:pos x="50" y="136"/>
                  </a:cxn>
                  <a:cxn ang="0">
                    <a:pos x="104" y="160"/>
                  </a:cxn>
                  <a:cxn ang="0">
                    <a:pos x="132" y="470"/>
                  </a:cxn>
                  <a:cxn ang="0">
                    <a:pos x="522" y="462"/>
                  </a:cxn>
                  <a:cxn ang="0">
                    <a:pos x="506" y="510"/>
                  </a:cxn>
                  <a:cxn ang="0">
                    <a:pos x="586" y="504"/>
                  </a:cxn>
                  <a:cxn ang="0">
                    <a:pos x="586" y="410"/>
                  </a:cxn>
                  <a:cxn ang="0">
                    <a:pos x="588" y="408"/>
                  </a:cxn>
                  <a:cxn ang="0">
                    <a:pos x="582" y="352"/>
                  </a:cxn>
                  <a:cxn ang="0">
                    <a:pos x="556" y="278"/>
                  </a:cxn>
                </a:cxnLst>
                <a:rect l="0" t="0" r="r" b="b"/>
                <a:pathLst>
                  <a:path w="588" h="510">
                    <a:moveTo>
                      <a:pt x="556" y="278"/>
                    </a:moveTo>
                    <a:lnTo>
                      <a:pt x="476" y="220"/>
                    </a:lnTo>
                    <a:lnTo>
                      <a:pt x="476" y="140"/>
                    </a:lnTo>
                    <a:lnTo>
                      <a:pt x="444" y="140"/>
                    </a:lnTo>
                    <a:lnTo>
                      <a:pt x="346" y="14"/>
                    </a:lnTo>
                    <a:lnTo>
                      <a:pt x="346" y="0"/>
                    </a:lnTo>
                    <a:lnTo>
                      <a:pt x="0" y="8"/>
                    </a:lnTo>
                    <a:lnTo>
                      <a:pt x="22" y="70"/>
                    </a:lnTo>
                    <a:lnTo>
                      <a:pt x="68" y="70"/>
                    </a:lnTo>
                    <a:lnTo>
                      <a:pt x="50" y="136"/>
                    </a:lnTo>
                    <a:lnTo>
                      <a:pt x="104" y="160"/>
                    </a:lnTo>
                    <a:lnTo>
                      <a:pt x="132" y="470"/>
                    </a:lnTo>
                    <a:lnTo>
                      <a:pt x="522" y="462"/>
                    </a:lnTo>
                    <a:lnTo>
                      <a:pt x="506" y="510"/>
                    </a:lnTo>
                    <a:lnTo>
                      <a:pt x="586" y="504"/>
                    </a:lnTo>
                    <a:lnTo>
                      <a:pt x="586" y="410"/>
                    </a:lnTo>
                    <a:lnTo>
                      <a:pt x="588" y="408"/>
                    </a:lnTo>
                    <a:lnTo>
                      <a:pt x="582" y="352"/>
                    </a:lnTo>
                    <a:lnTo>
                      <a:pt x="556" y="27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grpSp>
            <p:nvGrpSpPr>
              <p:cNvPr id="50" name="Gruppe 360"/>
              <p:cNvGrpSpPr/>
              <p:nvPr/>
            </p:nvGrpSpPr>
            <p:grpSpPr>
              <a:xfrm>
                <a:off x="1449633" y="627625"/>
                <a:ext cx="7103818" cy="4930930"/>
                <a:chOff x="1449633" y="627625"/>
                <a:chExt cx="7103818" cy="4930930"/>
              </a:xfrm>
              <a:grpFill/>
            </p:grpSpPr>
            <p:sp>
              <p:nvSpPr>
                <p:cNvPr id="51" name="Freeform 6"/>
                <p:cNvSpPr>
                  <a:spLocks/>
                </p:cNvSpPr>
                <p:nvPr/>
              </p:nvSpPr>
              <p:spPr bwMode="auto">
                <a:xfrm>
                  <a:off x="5419725" y="1465887"/>
                  <a:ext cx="751182" cy="872831"/>
                </a:xfrm>
                <a:custGeom>
                  <a:avLst/>
                  <a:gdLst/>
                  <a:ahLst/>
                  <a:cxnLst>
                    <a:cxn ang="0">
                      <a:pos x="404" y="538"/>
                    </a:cxn>
                    <a:cxn ang="0">
                      <a:pos x="490" y="542"/>
                    </a:cxn>
                    <a:cxn ang="0">
                      <a:pos x="464" y="400"/>
                    </a:cxn>
                    <a:cxn ang="0">
                      <a:pos x="494" y="172"/>
                    </a:cxn>
                    <a:cxn ang="0">
                      <a:pos x="446" y="160"/>
                    </a:cxn>
                    <a:cxn ang="0">
                      <a:pos x="414" y="160"/>
                    </a:cxn>
                    <a:cxn ang="0">
                      <a:pos x="404" y="122"/>
                    </a:cxn>
                    <a:cxn ang="0">
                      <a:pos x="196" y="96"/>
                    </a:cxn>
                    <a:cxn ang="0">
                      <a:pos x="174" y="38"/>
                    </a:cxn>
                    <a:cxn ang="0">
                      <a:pos x="146" y="38"/>
                    </a:cxn>
                    <a:cxn ang="0">
                      <a:pos x="146" y="0"/>
                    </a:cxn>
                    <a:cxn ang="0">
                      <a:pos x="78" y="24"/>
                    </a:cxn>
                    <a:cxn ang="0">
                      <a:pos x="36" y="116"/>
                    </a:cxn>
                    <a:cxn ang="0">
                      <a:pos x="0" y="158"/>
                    </a:cxn>
                    <a:cxn ang="0">
                      <a:pos x="28" y="292"/>
                    </a:cxn>
                    <a:cxn ang="0">
                      <a:pos x="166" y="374"/>
                    </a:cxn>
                    <a:cxn ang="0">
                      <a:pos x="194" y="508"/>
                    </a:cxn>
                    <a:cxn ang="0">
                      <a:pos x="264" y="574"/>
                    </a:cxn>
                    <a:cxn ang="0">
                      <a:pos x="352" y="568"/>
                    </a:cxn>
                    <a:cxn ang="0">
                      <a:pos x="404" y="538"/>
                    </a:cxn>
                  </a:cxnLst>
                  <a:rect l="0" t="0" r="r" b="b"/>
                  <a:pathLst>
                    <a:path w="494" h="574">
                      <a:moveTo>
                        <a:pt x="404" y="538"/>
                      </a:moveTo>
                      <a:lnTo>
                        <a:pt x="490" y="542"/>
                      </a:lnTo>
                      <a:lnTo>
                        <a:pt x="464" y="400"/>
                      </a:lnTo>
                      <a:lnTo>
                        <a:pt x="494" y="172"/>
                      </a:lnTo>
                      <a:lnTo>
                        <a:pt x="446" y="160"/>
                      </a:lnTo>
                      <a:lnTo>
                        <a:pt x="414" y="160"/>
                      </a:lnTo>
                      <a:lnTo>
                        <a:pt x="404" y="122"/>
                      </a:lnTo>
                      <a:lnTo>
                        <a:pt x="196" y="96"/>
                      </a:lnTo>
                      <a:lnTo>
                        <a:pt x="174" y="38"/>
                      </a:lnTo>
                      <a:lnTo>
                        <a:pt x="146" y="38"/>
                      </a:lnTo>
                      <a:lnTo>
                        <a:pt x="146" y="0"/>
                      </a:lnTo>
                      <a:lnTo>
                        <a:pt x="78" y="24"/>
                      </a:lnTo>
                      <a:lnTo>
                        <a:pt x="36" y="116"/>
                      </a:lnTo>
                      <a:lnTo>
                        <a:pt x="0" y="158"/>
                      </a:lnTo>
                      <a:lnTo>
                        <a:pt x="28" y="292"/>
                      </a:lnTo>
                      <a:lnTo>
                        <a:pt x="166" y="374"/>
                      </a:lnTo>
                      <a:lnTo>
                        <a:pt x="194" y="508"/>
                      </a:lnTo>
                      <a:lnTo>
                        <a:pt x="264" y="574"/>
                      </a:lnTo>
                      <a:lnTo>
                        <a:pt x="352" y="568"/>
                      </a:lnTo>
                      <a:lnTo>
                        <a:pt x="404" y="53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52" name="Freeform 7"/>
                <p:cNvSpPr>
                  <a:spLocks/>
                </p:cNvSpPr>
                <p:nvPr/>
              </p:nvSpPr>
              <p:spPr bwMode="auto">
                <a:xfrm>
                  <a:off x="5714724" y="2283975"/>
                  <a:ext cx="571750" cy="1000562"/>
                </a:xfrm>
                <a:custGeom>
                  <a:avLst/>
                  <a:gdLst/>
                  <a:ahLst/>
                  <a:cxnLst>
                    <a:cxn ang="0">
                      <a:pos x="336" y="64"/>
                    </a:cxn>
                    <a:cxn ang="0">
                      <a:pos x="300" y="26"/>
                    </a:cxn>
                    <a:cxn ang="0">
                      <a:pos x="296" y="4"/>
                    </a:cxn>
                    <a:cxn ang="0">
                      <a:pos x="210" y="0"/>
                    </a:cxn>
                    <a:cxn ang="0">
                      <a:pos x="158" y="30"/>
                    </a:cxn>
                    <a:cxn ang="0">
                      <a:pos x="70" y="36"/>
                    </a:cxn>
                    <a:cxn ang="0">
                      <a:pos x="78" y="96"/>
                    </a:cxn>
                    <a:cxn ang="0">
                      <a:pos x="22" y="162"/>
                    </a:cxn>
                    <a:cxn ang="0">
                      <a:pos x="42" y="202"/>
                    </a:cxn>
                    <a:cxn ang="0">
                      <a:pos x="0" y="272"/>
                    </a:cxn>
                    <a:cxn ang="0">
                      <a:pos x="0" y="320"/>
                    </a:cxn>
                    <a:cxn ang="0">
                      <a:pos x="96" y="442"/>
                    </a:cxn>
                    <a:cxn ang="0">
                      <a:pos x="130" y="442"/>
                    </a:cxn>
                    <a:cxn ang="0">
                      <a:pos x="130" y="526"/>
                    </a:cxn>
                    <a:cxn ang="0">
                      <a:pos x="208" y="580"/>
                    </a:cxn>
                    <a:cxn ang="0">
                      <a:pos x="236" y="658"/>
                    </a:cxn>
                    <a:cxn ang="0">
                      <a:pos x="258" y="616"/>
                    </a:cxn>
                    <a:cxn ang="0">
                      <a:pos x="308" y="644"/>
                    </a:cxn>
                    <a:cxn ang="0">
                      <a:pos x="348" y="592"/>
                    </a:cxn>
                    <a:cxn ang="0">
                      <a:pos x="356" y="510"/>
                    </a:cxn>
                    <a:cxn ang="0">
                      <a:pos x="376" y="428"/>
                    </a:cxn>
                    <a:cxn ang="0">
                      <a:pos x="336" y="64"/>
                    </a:cxn>
                  </a:cxnLst>
                  <a:rect l="0" t="0" r="r" b="b"/>
                  <a:pathLst>
                    <a:path w="376" h="658">
                      <a:moveTo>
                        <a:pt x="336" y="64"/>
                      </a:moveTo>
                      <a:lnTo>
                        <a:pt x="300" y="26"/>
                      </a:lnTo>
                      <a:lnTo>
                        <a:pt x="296" y="4"/>
                      </a:lnTo>
                      <a:lnTo>
                        <a:pt x="210" y="0"/>
                      </a:lnTo>
                      <a:lnTo>
                        <a:pt x="158" y="30"/>
                      </a:lnTo>
                      <a:lnTo>
                        <a:pt x="70" y="36"/>
                      </a:lnTo>
                      <a:lnTo>
                        <a:pt x="78" y="96"/>
                      </a:lnTo>
                      <a:lnTo>
                        <a:pt x="22" y="162"/>
                      </a:lnTo>
                      <a:lnTo>
                        <a:pt x="42" y="202"/>
                      </a:lnTo>
                      <a:lnTo>
                        <a:pt x="0" y="272"/>
                      </a:lnTo>
                      <a:lnTo>
                        <a:pt x="0" y="320"/>
                      </a:lnTo>
                      <a:lnTo>
                        <a:pt x="96" y="442"/>
                      </a:lnTo>
                      <a:lnTo>
                        <a:pt x="130" y="442"/>
                      </a:lnTo>
                      <a:lnTo>
                        <a:pt x="130" y="526"/>
                      </a:lnTo>
                      <a:lnTo>
                        <a:pt x="208" y="580"/>
                      </a:lnTo>
                      <a:lnTo>
                        <a:pt x="236" y="658"/>
                      </a:lnTo>
                      <a:lnTo>
                        <a:pt x="258" y="616"/>
                      </a:lnTo>
                      <a:lnTo>
                        <a:pt x="308" y="644"/>
                      </a:lnTo>
                      <a:lnTo>
                        <a:pt x="348" y="592"/>
                      </a:lnTo>
                      <a:lnTo>
                        <a:pt x="356" y="510"/>
                      </a:lnTo>
                      <a:lnTo>
                        <a:pt x="376" y="428"/>
                      </a:lnTo>
                      <a:lnTo>
                        <a:pt x="336" y="6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grpSp>
              <p:nvGrpSpPr>
                <p:cNvPr id="53" name="Gruppe 313"/>
                <p:cNvGrpSpPr/>
                <p:nvPr/>
              </p:nvGrpSpPr>
              <p:grpSpPr>
                <a:xfrm>
                  <a:off x="1449633" y="627625"/>
                  <a:ext cx="7103818" cy="4930930"/>
                  <a:chOff x="1449633" y="456175"/>
                  <a:chExt cx="7103818" cy="4930930"/>
                </a:xfrm>
                <a:grpFill/>
              </p:grpSpPr>
              <p:sp>
                <p:nvSpPr>
                  <p:cNvPr id="54" name="Freeform 3053"/>
                  <p:cNvSpPr>
                    <a:spLocks/>
                  </p:cNvSpPr>
                  <p:nvPr/>
                </p:nvSpPr>
                <p:spPr bwMode="auto">
                  <a:xfrm>
                    <a:off x="7807144" y="1160689"/>
                    <a:ext cx="149261" cy="570179"/>
                  </a:xfrm>
                  <a:custGeom>
                    <a:avLst/>
                    <a:gdLst/>
                    <a:ahLst/>
                    <a:cxnLst>
                      <a:cxn ang="0">
                        <a:pos x="0" y="0"/>
                      </a:cxn>
                      <a:cxn ang="0">
                        <a:pos x="86" y="312"/>
                      </a:cxn>
                      <a:cxn ang="0">
                        <a:pos x="100" y="382"/>
                      </a:cxn>
                      <a:cxn ang="0">
                        <a:pos x="94" y="324"/>
                      </a:cxn>
                      <a:cxn ang="0">
                        <a:pos x="30" y="98"/>
                      </a:cxn>
                      <a:cxn ang="0">
                        <a:pos x="0" y="0"/>
                      </a:cxn>
                    </a:cxnLst>
                    <a:rect l="0" t="0" r="r" b="b"/>
                    <a:pathLst>
                      <a:path w="100" h="382">
                        <a:moveTo>
                          <a:pt x="0" y="0"/>
                        </a:moveTo>
                        <a:lnTo>
                          <a:pt x="86" y="312"/>
                        </a:lnTo>
                        <a:lnTo>
                          <a:pt x="100" y="382"/>
                        </a:lnTo>
                        <a:lnTo>
                          <a:pt x="94" y="324"/>
                        </a:lnTo>
                        <a:lnTo>
                          <a:pt x="30" y="98"/>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55" name="Freeform 3054"/>
                  <p:cNvSpPr>
                    <a:spLocks/>
                  </p:cNvSpPr>
                  <p:nvPr/>
                </p:nvSpPr>
                <p:spPr bwMode="auto">
                  <a:xfrm>
                    <a:off x="7147408" y="1109940"/>
                    <a:ext cx="895569" cy="814968"/>
                  </a:xfrm>
                  <a:custGeom>
                    <a:avLst/>
                    <a:gdLst/>
                    <a:ahLst/>
                    <a:cxnLst>
                      <a:cxn ang="0">
                        <a:pos x="546" y="442"/>
                      </a:cxn>
                      <a:cxn ang="0">
                        <a:pos x="542" y="416"/>
                      </a:cxn>
                      <a:cxn ang="0">
                        <a:pos x="528" y="346"/>
                      </a:cxn>
                      <a:cxn ang="0">
                        <a:pos x="442" y="34"/>
                      </a:cxn>
                      <a:cxn ang="0">
                        <a:pos x="434" y="0"/>
                      </a:cxn>
                      <a:cxn ang="0">
                        <a:pos x="434" y="0"/>
                      </a:cxn>
                      <a:cxn ang="0">
                        <a:pos x="434" y="0"/>
                      </a:cxn>
                      <a:cxn ang="0">
                        <a:pos x="308" y="48"/>
                      </a:cxn>
                      <a:cxn ang="0">
                        <a:pos x="238" y="208"/>
                      </a:cxn>
                      <a:cxn ang="0">
                        <a:pos x="246" y="234"/>
                      </a:cxn>
                      <a:cxn ang="0">
                        <a:pos x="216" y="290"/>
                      </a:cxn>
                      <a:cxn ang="0">
                        <a:pos x="84" y="318"/>
                      </a:cxn>
                      <a:cxn ang="0">
                        <a:pos x="46" y="398"/>
                      </a:cxn>
                      <a:cxn ang="0">
                        <a:pos x="58" y="426"/>
                      </a:cxn>
                      <a:cxn ang="0">
                        <a:pos x="0" y="494"/>
                      </a:cxn>
                      <a:cxn ang="0">
                        <a:pos x="16" y="546"/>
                      </a:cxn>
                      <a:cxn ang="0">
                        <a:pos x="380" y="426"/>
                      </a:cxn>
                      <a:cxn ang="0">
                        <a:pos x="456" y="492"/>
                      </a:cxn>
                      <a:cxn ang="0">
                        <a:pos x="478" y="498"/>
                      </a:cxn>
                      <a:cxn ang="0">
                        <a:pos x="588" y="522"/>
                      </a:cxn>
                      <a:cxn ang="0">
                        <a:pos x="600" y="496"/>
                      </a:cxn>
                      <a:cxn ang="0">
                        <a:pos x="594" y="490"/>
                      </a:cxn>
                      <a:cxn ang="0">
                        <a:pos x="546" y="442"/>
                      </a:cxn>
                    </a:cxnLst>
                    <a:rect l="0" t="0" r="r" b="b"/>
                    <a:pathLst>
                      <a:path w="600" h="546">
                        <a:moveTo>
                          <a:pt x="546" y="442"/>
                        </a:moveTo>
                        <a:lnTo>
                          <a:pt x="542" y="416"/>
                        </a:lnTo>
                        <a:lnTo>
                          <a:pt x="528" y="346"/>
                        </a:lnTo>
                        <a:lnTo>
                          <a:pt x="442" y="34"/>
                        </a:lnTo>
                        <a:lnTo>
                          <a:pt x="434" y="0"/>
                        </a:lnTo>
                        <a:lnTo>
                          <a:pt x="434" y="0"/>
                        </a:lnTo>
                        <a:lnTo>
                          <a:pt x="434" y="0"/>
                        </a:lnTo>
                        <a:lnTo>
                          <a:pt x="308" y="48"/>
                        </a:lnTo>
                        <a:lnTo>
                          <a:pt x="238" y="208"/>
                        </a:lnTo>
                        <a:lnTo>
                          <a:pt x="246" y="234"/>
                        </a:lnTo>
                        <a:lnTo>
                          <a:pt x="216" y="290"/>
                        </a:lnTo>
                        <a:lnTo>
                          <a:pt x="84" y="318"/>
                        </a:lnTo>
                        <a:lnTo>
                          <a:pt x="46" y="398"/>
                        </a:lnTo>
                        <a:lnTo>
                          <a:pt x="58" y="426"/>
                        </a:lnTo>
                        <a:lnTo>
                          <a:pt x="0" y="494"/>
                        </a:lnTo>
                        <a:lnTo>
                          <a:pt x="16" y="546"/>
                        </a:lnTo>
                        <a:lnTo>
                          <a:pt x="380" y="426"/>
                        </a:lnTo>
                        <a:lnTo>
                          <a:pt x="456" y="492"/>
                        </a:lnTo>
                        <a:lnTo>
                          <a:pt x="478" y="498"/>
                        </a:lnTo>
                        <a:lnTo>
                          <a:pt x="588" y="522"/>
                        </a:lnTo>
                        <a:lnTo>
                          <a:pt x="600" y="496"/>
                        </a:lnTo>
                        <a:lnTo>
                          <a:pt x="594" y="490"/>
                        </a:lnTo>
                        <a:lnTo>
                          <a:pt x="546" y="442"/>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56" name="Freeform 3055"/>
                  <p:cNvSpPr>
                    <a:spLocks/>
                  </p:cNvSpPr>
                  <p:nvPr/>
                </p:nvSpPr>
                <p:spPr bwMode="auto">
                  <a:xfrm>
                    <a:off x="8183283" y="1315921"/>
                    <a:ext cx="59705" cy="41793"/>
                  </a:xfrm>
                  <a:custGeom>
                    <a:avLst/>
                    <a:gdLst/>
                    <a:ahLst/>
                    <a:cxnLst>
                      <a:cxn ang="0">
                        <a:pos x="40" y="28"/>
                      </a:cxn>
                      <a:cxn ang="0">
                        <a:pos x="40" y="24"/>
                      </a:cxn>
                      <a:cxn ang="0">
                        <a:pos x="0" y="0"/>
                      </a:cxn>
                      <a:cxn ang="0">
                        <a:pos x="40" y="28"/>
                      </a:cxn>
                    </a:cxnLst>
                    <a:rect l="0" t="0" r="r" b="b"/>
                    <a:pathLst>
                      <a:path w="40" h="28">
                        <a:moveTo>
                          <a:pt x="40" y="28"/>
                        </a:moveTo>
                        <a:lnTo>
                          <a:pt x="40" y="24"/>
                        </a:lnTo>
                        <a:lnTo>
                          <a:pt x="0" y="0"/>
                        </a:lnTo>
                        <a:lnTo>
                          <a:pt x="40" y="2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57" name="Freeform 3056"/>
                  <p:cNvSpPr>
                    <a:spLocks/>
                  </p:cNvSpPr>
                  <p:nvPr/>
                </p:nvSpPr>
                <p:spPr bwMode="auto">
                  <a:xfrm>
                    <a:off x="7995213" y="456175"/>
                    <a:ext cx="558238" cy="895569"/>
                  </a:xfrm>
                  <a:custGeom>
                    <a:avLst/>
                    <a:gdLst/>
                    <a:ahLst/>
                    <a:cxnLst>
                      <a:cxn ang="0">
                        <a:pos x="284" y="228"/>
                      </a:cxn>
                      <a:cxn ang="0">
                        <a:pos x="244" y="202"/>
                      </a:cxn>
                      <a:cxn ang="0">
                        <a:pos x="136" y="0"/>
                      </a:cxn>
                      <a:cxn ang="0">
                        <a:pos x="84" y="68"/>
                      </a:cxn>
                      <a:cxn ang="0">
                        <a:pos x="46" y="54"/>
                      </a:cxn>
                      <a:cxn ang="0">
                        <a:pos x="46" y="228"/>
                      </a:cxn>
                      <a:cxn ang="0">
                        <a:pos x="0" y="356"/>
                      </a:cxn>
                      <a:cxn ang="0">
                        <a:pos x="126" y="576"/>
                      </a:cxn>
                      <a:cxn ang="0">
                        <a:pos x="166" y="600"/>
                      </a:cxn>
                      <a:cxn ang="0">
                        <a:pos x="166" y="540"/>
                      </a:cxn>
                      <a:cxn ang="0">
                        <a:pos x="244" y="404"/>
                      </a:cxn>
                      <a:cxn ang="0">
                        <a:pos x="294" y="378"/>
                      </a:cxn>
                      <a:cxn ang="0">
                        <a:pos x="294" y="336"/>
                      </a:cxn>
                      <a:cxn ang="0">
                        <a:pos x="374" y="202"/>
                      </a:cxn>
                      <a:cxn ang="0">
                        <a:pos x="284" y="228"/>
                      </a:cxn>
                    </a:cxnLst>
                    <a:rect l="0" t="0" r="r" b="b"/>
                    <a:pathLst>
                      <a:path w="374" h="600">
                        <a:moveTo>
                          <a:pt x="284" y="228"/>
                        </a:moveTo>
                        <a:lnTo>
                          <a:pt x="244" y="202"/>
                        </a:lnTo>
                        <a:lnTo>
                          <a:pt x="136" y="0"/>
                        </a:lnTo>
                        <a:lnTo>
                          <a:pt x="84" y="68"/>
                        </a:lnTo>
                        <a:lnTo>
                          <a:pt x="46" y="54"/>
                        </a:lnTo>
                        <a:lnTo>
                          <a:pt x="46" y="228"/>
                        </a:lnTo>
                        <a:lnTo>
                          <a:pt x="0" y="356"/>
                        </a:lnTo>
                        <a:lnTo>
                          <a:pt x="126" y="576"/>
                        </a:lnTo>
                        <a:lnTo>
                          <a:pt x="166" y="600"/>
                        </a:lnTo>
                        <a:lnTo>
                          <a:pt x="166" y="540"/>
                        </a:lnTo>
                        <a:lnTo>
                          <a:pt x="244" y="404"/>
                        </a:lnTo>
                        <a:lnTo>
                          <a:pt x="294" y="378"/>
                        </a:lnTo>
                        <a:lnTo>
                          <a:pt x="294" y="336"/>
                        </a:lnTo>
                        <a:lnTo>
                          <a:pt x="374" y="202"/>
                        </a:lnTo>
                        <a:lnTo>
                          <a:pt x="284" y="228"/>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58" name="Freeform 3057"/>
                  <p:cNvSpPr>
                    <a:spLocks/>
                  </p:cNvSpPr>
                  <p:nvPr/>
                </p:nvSpPr>
                <p:spPr bwMode="auto">
                  <a:xfrm>
                    <a:off x="7798188" y="1047250"/>
                    <a:ext cx="176129" cy="504504"/>
                  </a:xfrm>
                  <a:custGeom>
                    <a:avLst/>
                    <a:gdLst/>
                    <a:ahLst/>
                    <a:cxnLst>
                      <a:cxn ang="0">
                        <a:pos x="110" y="84"/>
                      </a:cxn>
                      <a:cxn ang="0">
                        <a:pos x="110" y="84"/>
                      </a:cxn>
                      <a:cxn ang="0">
                        <a:pos x="112" y="64"/>
                      </a:cxn>
                      <a:cxn ang="0">
                        <a:pos x="112" y="42"/>
                      </a:cxn>
                      <a:cxn ang="0">
                        <a:pos x="110" y="20"/>
                      </a:cxn>
                      <a:cxn ang="0">
                        <a:pos x="106" y="0"/>
                      </a:cxn>
                      <a:cxn ang="0">
                        <a:pos x="0" y="40"/>
                      </a:cxn>
                      <a:cxn ang="0">
                        <a:pos x="0" y="42"/>
                      </a:cxn>
                      <a:cxn ang="0">
                        <a:pos x="2" y="42"/>
                      </a:cxn>
                      <a:cxn ang="0">
                        <a:pos x="40" y="174"/>
                      </a:cxn>
                      <a:cxn ang="0">
                        <a:pos x="80" y="318"/>
                      </a:cxn>
                      <a:cxn ang="0">
                        <a:pos x="86" y="338"/>
                      </a:cxn>
                      <a:cxn ang="0">
                        <a:pos x="86" y="338"/>
                      </a:cxn>
                      <a:cxn ang="0">
                        <a:pos x="118" y="330"/>
                      </a:cxn>
                      <a:cxn ang="0">
                        <a:pos x="118" y="330"/>
                      </a:cxn>
                      <a:cxn ang="0">
                        <a:pos x="110" y="302"/>
                      </a:cxn>
                      <a:cxn ang="0">
                        <a:pos x="106" y="270"/>
                      </a:cxn>
                      <a:cxn ang="0">
                        <a:pos x="104" y="234"/>
                      </a:cxn>
                      <a:cxn ang="0">
                        <a:pos x="104" y="198"/>
                      </a:cxn>
                      <a:cxn ang="0">
                        <a:pos x="106" y="132"/>
                      </a:cxn>
                      <a:cxn ang="0">
                        <a:pos x="108" y="104"/>
                      </a:cxn>
                      <a:cxn ang="0">
                        <a:pos x="110" y="84"/>
                      </a:cxn>
                      <a:cxn ang="0">
                        <a:pos x="110" y="84"/>
                      </a:cxn>
                    </a:cxnLst>
                    <a:rect l="0" t="0" r="r" b="b"/>
                    <a:pathLst>
                      <a:path w="118" h="338">
                        <a:moveTo>
                          <a:pt x="110" y="84"/>
                        </a:moveTo>
                        <a:lnTo>
                          <a:pt x="110" y="84"/>
                        </a:lnTo>
                        <a:lnTo>
                          <a:pt x="112" y="64"/>
                        </a:lnTo>
                        <a:lnTo>
                          <a:pt x="112" y="42"/>
                        </a:lnTo>
                        <a:lnTo>
                          <a:pt x="110" y="20"/>
                        </a:lnTo>
                        <a:lnTo>
                          <a:pt x="106" y="0"/>
                        </a:lnTo>
                        <a:lnTo>
                          <a:pt x="0" y="40"/>
                        </a:lnTo>
                        <a:lnTo>
                          <a:pt x="0" y="42"/>
                        </a:lnTo>
                        <a:lnTo>
                          <a:pt x="2" y="42"/>
                        </a:lnTo>
                        <a:lnTo>
                          <a:pt x="40" y="174"/>
                        </a:lnTo>
                        <a:lnTo>
                          <a:pt x="80" y="318"/>
                        </a:lnTo>
                        <a:lnTo>
                          <a:pt x="86" y="338"/>
                        </a:lnTo>
                        <a:lnTo>
                          <a:pt x="86" y="338"/>
                        </a:lnTo>
                        <a:lnTo>
                          <a:pt x="118" y="330"/>
                        </a:lnTo>
                        <a:lnTo>
                          <a:pt x="118" y="330"/>
                        </a:lnTo>
                        <a:lnTo>
                          <a:pt x="110" y="302"/>
                        </a:lnTo>
                        <a:lnTo>
                          <a:pt x="106" y="270"/>
                        </a:lnTo>
                        <a:lnTo>
                          <a:pt x="104" y="234"/>
                        </a:lnTo>
                        <a:lnTo>
                          <a:pt x="104" y="198"/>
                        </a:lnTo>
                        <a:lnTo>
                          <a:pt x="106" y="132"/>
                        </a:lnTo>
                        <a:lnTo>
                          <a:pt x="108" y="104"/>
                        </a:lnTo>
                        <a:lnTo>
                          <a:pt x="110" y="84"/>
                        </a:lnTo>
                        <a:lnTo>
                          <a:pt x="110" y="84"/>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59" name="Freeform 3058"/>
                  <p:cNvSpPr>
                    <a:spLocks/>
                  </p:cNvSpPr>
                  <p:nvPr/>
                </p:nvSpPr>
                <p:spPr bwMode="auto">
                  <a:xfrm>
                    <a:off x="7953420" y="984561"/>
                    <a:ext cx="292552" cy="555253"/>
                  </a:xfrm>
                  <a:custGeom>
                    <a:avLst/>
                    <a:gdLst/>
                    <a:ahLst/>
                    <a:cxnLst>
                      <a:cxn ang="0">
                        <a:pos x="156" y="224"/>
                      </a:cxn>
                      <a:cxn ang="0">
                        <a:pos x="30" y="6"/>
                      </a:cxn>
                      <a:cxn ang="0">
                        <a:pos x="30" y="4"/>
                      </a:cxn>
                      <a:cxn ang="0">
                        <a:pos x="156" y="222"/>
                      </a:cxn>
                      <a:cxn ang="0">
                        <a:pos x="30" y="0"/>
                      </a:cxn>
                      <a:cxn ang="0">
                        <a:pos x="16" y="36"/>
                      </a:cxn>
                      <a:cxn ang="0">
                        <a:pos x="2" y="42"/>
                      </a:cxn>
                      <a:cxn ang="0">
                        <a:pos x="2" y="42"/>
                      </a:cxn>
                      <a:cxn ang="0">
                        <a:pos x="6" y="62"/>
                      </a:cxn>
                      <a:cxn ang="0">
                        <a:pos x="8" y="84"/>
                      </a:cxn>
                      <a:cxn ang="0">
                        <a:pos x="8" y="106"/>
                      </a:cxn>
                      <a:cxn ang="0">
                        <a:pos x="6" y="126"/>
                      </a:cxn>
                      <a:cxn ang="0">
                        <a:pos x="6" y="126"/>
                      </a:cxn>
                      <a:cxn ang="0">
                        <a:pos x="4" y="146"/>
                      </a:cxn>
                      <a:cxn ang="0">
                        <a:pos x="2" y="174"/>
                      </a:cxn>
                      <a:cxn ang="0">
                        <a:pos x="0" y="240"/>
                      </a:cxn>
                      <a:cxn ang="0">
                        <a:pos x="0" y="276"/>
                      </a:cxn>
                      <a:cxn ang="0">
                        <a:pos x="2" y="312"/>
                      </a:cxn>
                      <a:cxn ang="0">
                        <a:pos x="6" y="344"/>
                      </a:cxn>
                      <a:cxn ang="0">
                        <a:pos x="14" y="372"/>
                      </a:cxn>
                      <a:cxn ang="0">
                        <a:pos x="14" y="372"/>
                      </a:cxn>
                      <a:cxn ang="0">
                        <a:pos x="44" y="362"/>
                      </a:cxn>
                      <a:cxn ang="0">
                        <a:pos x="74" y="350"/>
                      </a:cxn>
                      <a:cxn ang="0">
                        <a:pos x="100" y="334"/>
                      </a:cxn>
                      <a:cxn ang="0">
                        <a:pos x="114" y="326"/>
                      </a:cxn>
                      <a:cxn ang="0">
                        <a:pos x="124" y="316"/>
                      </a:cxn>
                      <a:cxn ang="0">
                        <a:pos x="124" y="316"/>
                      </a:cxn>
                      <a:cxn ang="0">
                        <a:pos x="134" y="308"/>
                      </a:cxn>
                      <a:cxn ang="0">
                        <a:pos x="144" y="300"/>
                      </a:cxn>
                      <a:cxn ang="0">
                        <a:pos x="154" y="296"/>
                      </a:cxn>
                      <a:cxn ang="0">
                        <a:pos x="164" y="292"/>
                      </a:cxn>
                      <a:cxn ang="0">
                        <a:pos x="182" y="288"/>
                      </a:cxn>
                      <a:cxn ang="0">
                        <a:pos x="196" y="288"/>
                      </a:cxn>
                      <a:cxn ang="0">
                        <a:pos x="196" y="250"/>
                      </a:cxn>
                      <a:cxn ang="0">
                        <a:pos x="156" y="224"/>
                      </a:cxn>
                    </a:cxnLst>
                    <a:rect l="0" t="0" r="r" b="b"/>
                    <a:pathLst>
                      <a:path w="196" h="372">
                        <a:moveTo>
                          <a:pt x="156" y="224"/>
                        </a:moveTo>
                        <a:lnTo>
                          <a:pt x="30" y="6"/>
                        </a:lnTo>
                        <a:lnTo>
                          <a:pt x="30" y="4"/>
                        </a:lnTo>
                        <a:lnTo>
                          <a:pt x="156" y="222"/>
                        </a:lnTo>
                        <a:lnTo>
                          <a:pt x="30" y="0"/>
                        </a:lnTo>
                        <a:lnTo>
                          <a:pt x="16" y="36"/>
                        </a:lnTo>
                        <a:lnTo>
                          <a:pt x="2" y="42"/>
                        </a:lnTo>
                        <a:lnTo>
                          <a:pt x="2" y="42"/>
                        </a:lnTo>
                        <a:lnTo>
                          <a:pt x="6" y="62"/>
                        </a:lnTo>
                        <a:lnTo>
                          <a:pt x="8" y="84"/>
                        </a:lnTo>
                        <a:lnTo>
                          <a:pt x="8" y="106"/>
                        </a:lnTo>
                        <a:lnTo>
                          <a:pt x="6" y="126"/>
                        </a:lnTo>
                        <a:lnTo>
                          <a:pt x="6" y="126"/>
                        </a:lnTo>
                        <a:lnTo>
                          <a:pt x="4" y="146"/>
                        </a:lnTo>
                        <a:lnTo>
                          <a:pt x="2" y="174"/>
                        </a:lnTo>
                        <a:lnTo>
                          <a:pt x="0" y="240"/>
                        </a:lnTo>
                        <a:lnTo>
                          <a:pt x="0" y="276"/>
                        </a:lnTo>
                        <a:lnTo>
                          <a:pt x="2" y="312"/>
                        </a:lnTo>
                        <a:lnTo>
                          <a:pt x="6" y="344"/>
                        </a:lnTo>
                        <a:lnTo>
                          <a:pt x="14" y="372"/>
                        </a:lnTo>
                        <a:lnTo>
                          <a:pt x="14" y="372"/>
                        </a:lnTo>
                        <a:lnTo>
                          <a:pt x="44" y="362"/>
                        </a:lnTo>
                        <a:lnTo>
                          <a:pt x="74" y="350"/>
                        </a:lnTo>
                        <a:lnTo>
                          <a:pt x="100" y="334"/>
                        </a:lnTo>
                        <a:lnTo>
                          <a:pt x="114" y="326"/>
                        </a:lnTo>
                        <a:lnTo>
                          <a:pt x="124" y="316"/>
                        </a:lnTo>
                        <a:lnTo>
                          <a:pt x="124" y="316"/>
                        </a:lnTo>
                        <a:lnTo>
                          <a:pt x="134" y="308"/>
                        </a:lnTo>
                        <a:lnTo>
                          <a:pt x="144" y="300"/>
                        </a:lnTo>
                        <a:lnTo>
                          <a:pt x="154" y="296"/>
                        </a:lnTo>
                        <a:lnTo>
                          <a:pt x="164" y="292"/>
                        </a:lnTo>
                        <a:lnTo>
                          <a:pt x="182" y="288"/>
                        </a:lnTo>
                        <a:lnTo>
                          <a:pt x="196" y="288"/>
                        </a:lnTo>
                        <a:lnTo>
                          <a:pt x="196" y="250"/>
                        </a:lnTo>
                        <a:lnTo>
                          <a:pt x="156" y="224"/>
                        </a:lnTo>
                        <a:close/>
                      </a:path>
                    </a:pathLst>
                  </a:custGeom>
                  <a:solidFill>
                    <a:srgbClr val="92D050"/>
                  </a:solidFill>
                  <a:ln w="0">
                    <a:solidFill>
                      <a:schemeClr val="bg1"/>
                    </a:solidFill>
                    <a:prstDash val="solid"/>
                    <a:round/>
                    <a:headEnd/>
                    <a:tailEnd/>
                  </a:ln>
                </p:spPr>
                <p:txBody>
                  <a:bodyPr/>
                  <a:lstStyle/>
                  <a:p>
                    <a:pPr>
                      <a:defRPr/>
                    </a:pPr>
                    <a:endParaRPr lang="da-DK" sz="800" dirty="0">
                      <a:solidFill>
                        <a:prstClr val="black"/>
                      </a:solidFill>
                    </a:endParaRPr>
                  </a:p>
                </p:txBody>
              </p:sp>
              <p:sp>
                <p:nvSpPr>
                  <p:cNvPr id="60" name="Freeform 3059"/>
                  <p:cNvSpPr>
                    <a:spLocks/>
                  </p:cNvSpPr>
                  <p:nvPr/>
                </p:nvSpPr>
                <p:spPr bwMode="auto">
                  <a:xfrm>
                    <a:off x="7947449" y="1575636"/>
                    <a:ext cx="247774" cy="271656"/>
                  </a:xfrm>
                  <a:custGeom>
                    <a:avLst/>
                    <a:gdLst/>
                    <a:ahLst/>
                    <a:cxnLst>
                      <a:cxn ang="0">
                        <a:pos x="2" y="46"/>
                      </a:cxn>
                      <a:cxn ang="0">
                        <a:pos x="12" y="128"/>
                      </a:cxn>
                      <a:cxn ang="0">
                        <a:pos x="64" y="182"/>
                      </a:cxn>
                      <a:cxn ang="0">
                        <a:pos x="60" y="178"/>
                      </a:cxn>
                      <a:cxn ang="0">
                        <a:pos x="64" y="182"/>
                      </a:cxn>
                      <a:cxn ang="0">
                        <a:pos x="66" y="178"/>
                      </a:cxn>
                      <a:cxn ang="0">
                        <a:pos x="150" y="138"/>
                      </a:cxn>
                      <a:cxn ang="0">
                        <a:pos x="164" y="138"/>
                      </a:cxn>
                      <a:cxn ang="0">
                        <a:pos x="166" y="138"/>
                      </a:cxn>
                      <a:cxn ang="0">
                        <a:pos x="138" y="0"/>
                      </a:cxn>
                      <a:cxn ang="0">
                        <a:pos x="0" y="44"/>
                      </a:cxn>
                      <a:cxn ang="0">
                        <a:pos x="2" y="46"/>
                      </a:cxn>
                    </a:cxnLst>
                    <a:rect l="0" t="0" r="r" b="b"/>
                    <a:pathLst>
                      <a:path w="166" h="182">
                        <a:moveTo>
                          <a:pt x="2" y="46"/>
                        </a:moveTo>
                        <a:lnTo>
                          <a:pt x="12" y="128"/>
                        </a:lnTo>
                        <a:lnTo>
                          <a:pt x="64" y="182"/>
                        </a:lnTo>
                        <a:lnTo>
                          <a:pt x="60" y="178"/>
                        </a:lnTo>
                        <a:lnTo>
                          <a:pt x="64" y="182"/>
                        </a:lnTo>
                        <a:lnTo>
                          <a:pt x="66" y="178"/>
                        </a:lnTo>
                        <a:lnTo>
                          <a:pt x="150" y="138"/>
                        </a:lnTo>
                        <a:lnTo>
                          <a:pt x="164" y="138"/>
                        </a:lnTo>
                        <a:lnTo>
                          <a:pt x="166" y="138"/>
                        </a:lnTo>
                        <a:lnTo>
                          <a:pt x="138" y="0"/>
                        </a:lnTo>
                        <a:lnTo>
                          <a:pt x="0" y="44"/>
                        </a:lnTo>
                        <a:lnTo>
                          <a:pt x="2" y="46"/>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61" name="Freeform 3060"/>
                  <p:cNvSpPr>
                    <a:spLocks/>
                  </p:cNvSpPr>
                  <p:nvPr/>
                </p:nvSpPr>
                <p:spPr bwMode="auto">
                  <a:xfrm>
                    <a:off x="7923568" y="1417419"/>
                    <a:ext cx="498533" cy="226877"/>
                  </a:xfrm>
                  <a:custGeom>
                    <a:avLst/>
                    <a:gdLst/>
                    <a:ahLst/>
                    <a:cxnLst>
                      <a:cxn ang="0">
                        <a:pos x="292" y="16"/>
                      </a:cxn>
                      <a:cxn ang="0">
                        <a:pos x="264" y="68"/>
                      </a:cxn>
                      <a:cxn ang="0">
                        <a:pos x="214" y="2"/>
                      </a:cxn>
                      <a:cxn ang="0">
                        <a:pos x="214" y="0"/>
                      </a:cxn>
                      <a:cxn ang="0">
                        <a:pos x="214" y="0"/>
                      </a:cxn>
                      <a:cxn ang="0">
                        <a:pos x="202" y="0"/>
                      </a:cxn>
                      <a:cxn ang="0">
                        <a:pos x="184" y="2"/>
                      </a:cxn>
                      <a:cxn ang="0">
                        <a:pos x="174" y="6"/>
                      </a:cxn>
                      <a:cxn ang="0">
                        <a:pos x="162" y="12"/>
                      </a:cxn>
                      <a:cxn ang="0">
                        <a:pos x="152" y="18"/>
                      </a:cxn>
                      <a:cxn ang="0">
                        <a:pos x="142" y="26"/>
                      </a:cxn>
                      <a:cxn ang="0">
                        <a:pos x="142" y="26"/>
                      </a:cxn>
                      <a:cxn ang="0">
                        <a:pos x="128" y="38"/>
                      </a:cxn>
                      <a:cxn ang="0">
                        <a:pos x="112" y="50"/>
                      </a:cxn>
                      <a:cxn ang="0">
                        <a:pos x="96" y="60"/>
                      </a:cxn>
                      <a:cxn ang="0">
                        <a:pos x="76" y="68"/>
                      </a:cxn>
                      <a:cxn ang="0">
                        <a:pos x="38" y="82"/>
                      </a:cxn>
                      <a:cxn ang="0">
                        <a:pos x="0" y="90"/>
                      </a:cxn>
                      <a:cxn ang="0">
                        <a:pos x="16" y="150"/>
                      </a:cxn>
                      <a:cxn ang="0">
                        <a:pos x="154" y="106"/>
                      </a:cxn>
                      <a:cxn ang="0">
                        <a:pos x="154" y="102"/>
                      </a:cxn>
                      <a:cxn ang="0">
                        <a:pos x="170" y="96"/>
                      </a:cxn>
                      <a:cxn ang="0">
                        <a:pos x="206" y="82"/>
                      </a:cxn>
                      <a:cxn ang="0">
                        <a:pos x="242" y="122"/>
                      </a:cxn>
                      <a:cxn ang="0">
                        <a:pos x="244" y="122"/>
                      </a:cxn>
                      <a:cxn ang="0">
                        <a:pos x="254" y="152"/>
                      </a:cxn>
                      <a:cxn ang="0">
                        <a:pos x="334" y="152"/>
                      </a:cxn>
                      <a:cxn ang="0">
                        <a:pos x="334" y="84"/>
                      </a:cxn>
                      <a:cxn ang="0">
                        <a:pos x="292" y="16"/>
                      </a:cxn>
                    </a:cxnLst>
                    <a:rect l="0" t="0" r="r" b="b"/>
                    <a:pathLst>
                      <a:path w="334" h="152">
                        <a:moveTo>
                          <a:pt x="292" y="16"/>
                        </a:moveTo>
                        <a:lnTo>
                          <a:pt x="264" y="68"/>
                        </a:lnTo>
                        <a:lnTo>
                          <a:pt x="214" y="2"/>
                        </a:lnTo>
                        <a:lnTo>
                          <a:pt x="214" y="0"/>
                        </a:lnTo>
                        <a:lnTo>
                          <a:pt x="214" y="0"/>
                        </a:lnTo>
                        <a:lnTo>
                          <a:pt x="202" y="0"/>
                        </a:lnTo>
                        <a:lnTo>
                          <a:pt x="184" y="2"/>
                        </a:lnTo>
                        <a:lnTo>
                          <a:pt x="174" y="6"/>
                        </a:lnTo>
                        <a:lnTo>
                          <a:pt x="162" y="12"/>
                        </a:lnTo>
                        <a:lnTo>
                          <a:pt x="152" y="18"/>
                        </a:lnTo>
                        <a:lnTo>
                          <a:pt x="142" y="26"/>
                        </a:lnTo>
                        <a:lnTo>
                          <a:pt x="142" y="26"/>
                        </a:lnTo>
                        <a:lnTo>
                          <a:pt x="128" y="38"/>
                        </a:lnTo>
                        <a:lnTo>
                          <a:pt x="112" y="50"/>
                        </a:lnTo>
                        <a:lnTo>
                          <a:pt x="96" y="60"/>
                        </a:lnTo>
                        <a:lnTo>
                          <a:pt x="76" y="68"/>
                        </a:lnTo>
                        <a:lnTo>
                          <a:pt x="38" y="82"/>
                        </a:lnTo>
                        <a:lnTo>
                          <a:pt x="0" y="90"/>
                        </a:lnTo>
                        <a:lnTo>
                          <a:pt x="16" y="150"/>
                        </a:lnTo>
                        <a:lnTo>
                          <a:pt x="154" y="106"/>
                        </a:lnTo>
                        <a:lnTo>
                          <a:pt x="154" y="102"/>
                        </a:lnTo>
                        <a:lnTo>
                          <a:pt x="170" y="96"/>
                        </a:lnTo>
                        <a:lnTo>
                          <a:pt x="206" y="82"/>
                        </a:lnTo>
                        <a:lnTo>
                          <a:pt x="242" y="122"/>
                        </a:lnTo>
                        <a:lnTo>
                          <a:pt x="244" y="122"/>
                        </a:lnTo>
                        <a:lnTo>
                          <a:pt x="254" y="152"/>
                        </a:lnTo>
                        <a:lnTo>
                          <a:pt x="334" y="152"/>
                        </a:lnTo>
                        <a:lnTo>
                          <a:pt x="334" y="84"/>
                        </a:lnTo>
                        <a:lnTo>
                          <a:pt x="292" y="16"/>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grpSp>
                <p:nvGrpSpPr>
                  <p:cNvPr id="62" name="Gruppe 312"/>
                  <p:cNvGrpSpPr/>
                  <p:nvPr/>
                </p:nvGrpSpPr>
                <p:grpSpPr>
                  <a:xfrm>
                    <a:off x="1449633" y="664433"/>
                    <a:ext cx="6841620" cy="4722672"/>
                    <a:chOff x="1449633" y="664433"/>
                    <a:chExt cx="6841620" cy="4722672"/>
                  </a:xfrm>
                  <a:grpFill/>
                </p:grpSpPr>
                <p:grpSp>
                  <p:nvGrpSpPr>
                    <p:cNvPr id="67" name="Group 3052"/>
                    <p:cNvGrpSpPr>
                      <a:grpSpLocks/>
                    </p:cNvGrpSpPr>
                    <p:nvPr/>
                  </p:nvGrpSpPr>
                  <p:grpSpPr bwMode="auto">
                    <a:xfrm>
                      <a:off x="1449633" y="664433"/>
                      <a:ext cx="6841620" cy="4644660"/>
                      <a:chOff x="698" y="593"/>
                      <a:chExt cx="4584" cy="3112"/>
                    </a:xfrm>
                    <a:grpFill/>
                  </p:grpSpPr>
                  <p:sp>
                    <p:nvSpPr>
                      <p:cNvPr id="69" name="Freeform 2853"/>
                      <p:cNvSpPr>
                        <a:spLocks/>
                      </p:cNvSpPr>
                      <p:nvPr/>
                    </p:nvSpPr>
                    <p:spPr bwMode="auto">
                      <a:xfrm>
                        <a:off x="5218" y="1345"/>
                        <a:ext cx="2" cy="2"/>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70" name="Freeform 2854"/>
                      <p:cNvSpPr>
                        <a:spLocks/>
                      </p:cNvSpPr>
                      <p:nvPr/>
                    </p:nvSpPr>
                    <p:spPr bwMode="auto">
                      <a:xfrm>
                        <a:off x="1372" y="2223"/>
                        <a:ext cx="580" cy="784"/>
                      </a:xfrm>
                      <a:custGeom>
                        <a:avLst/>
                        <a:gdLst/>
                        <a:ahLst/>
                        <a:cxnLst>
                          <a:cxn ang="0">
                            <a:pos x="128" y="0"/>
                          </a:cxn>
                          <a:cxn ang="0">
                            <a:pos x="112" y="120"/>
                          </a:cxn>
                          <a:cxn ang="0">
                            <a:pos x="72" y="106"/>
                          </a:cxn>
                          <a:cxn ang="0">
                            <a:pos x="42" y="254"/>
                          </a:cxn>
                          <a:cxn ang="0">
                            <a:pos x="74" y="350"/>
                          </a:cxn>
                          <a:cxn ang="0">
                            <a:pos x="62" y="364"/>
                          </a:cxn>
                          <a:cxn ang="0">
                            <a:pos x="12" y="472"/>
                          </a:cxn>
                          <a:cxn ang="0">
                            <a:pos x="24" y="526"/>
                          </a:cxn>
                          <a:cxn ang="0">
                            <a:pos x="0" y="568"/>
                          </a:cxn>
                          <a:cxn ang="0">
                            <a:pos x="362" y="768"/>
                          </a:cxn>
                          <a:cxn ang="0">
                            <a:pos x="538" y="784"/>
                          </a:cxn>
                          <a:cxn ang="0">
                            <a:pos x="580" y="80"/>
                          </a:cxn>
                          <a:cxn ang="0">
                            <a:pos x="128" y="0"/>
                          </a:cxn>
                        </a:cxnLst>
                        <a:rect l="0" t="0" r="r" b="b"/>
                        <a:pathLst>
                          <a:path w="580" h="784">
                            <a:moveTo>
                              <a:pt x="128" y="0"/>
                            </a:moveTo>
                            <a:lnTo>
                              <a:pt x="112" y="120"/>
                            </a:lnTo>
                            <a:lnTo>
                              <a:pt x="72" y="106"/>
                            </a:lnTo>
                            <a:lnTo>
                              <a:pt x="42" y="254"/>
                            </a:lnTo>
                            <a:lnTo>
                              <a:pt x="74" y="350"/>
                            </a:lnTo>
                            <a:lnTo>
                              <a:pt x="62" y="364"/>
                            </a:lnTo>
                            <a:lnTo>
                              <a:pt x="12" y="472"/>
                            </a:lnTo>
                            <a:lnTo>
                              <a:pt x="24" y="526"/>
                            </a:lnTo>
                            <a:lnTo>
                              <a:pt x="0" y="568"/>
                            </a:lnTo>
                            <a:lnTo>
                              <a:pt x="362" y="768"/>
                            </a:lnTo>
                            <a:lnTo>
                              <a:pt x="538" y="784"/>
                            </a:lnTo>
                            <a:lnTo>
                              <a:pt x="580" y="80"/>
                            </a:lnTo>
                            <a:lnTo>
                              <a:pt x="128" y="0"/>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71" name="Freeform 2855"/>
                      <p:cNvSpPr>
                        <a:spLocks/>
                      </p:cNvSpPr>
                      <p:nvPr/>
                    </p:nvSpPr>
                    <p:spPr bwMode="auto">
                      <a:xfrm>
                        <a:off x="3418" y="2739"/>
                        <a:ext cx="560" cy="468"/>
                      </a:xfrm>
                      <a:custGeom>
                        <a:avLst/>
                        <a:gdLst/>
                        <a:ahLst/>
                        <a:cxnLst>
                          <a:cxn ang="0">
                            <a:pos x="276" y="240"/>
                          </a:cxn>
                          <a:cxn ang="0">
                            <a:pos x="310" y="90"/>
                          </a:cxn>
                          <a:cxn ang="0">
                            <a:pos x="280" y="0"/>
                          </a:cxn>
                          <a:cxn ang="0">
                            <a:pos x="0" y="20"/>
                          </a:cxn>
                          <a:cxn ang="0">
                            <a:pos x="16" y="154"/>
                          </a:cxn>
                          <a:cxn ang="0">
                            <a:pos x="84" y="274"/>
                          </a:cxn>
                          <a:cxn ang="0">
                            <a:pos x="76" y="372"/>
                          </a:cxn>
                          <a:cxn ang="0">
                            <a:pos x="62" y="416"/>
                          </a:cxn>
                          <a:cxn ang="0">
                            <a:pos x="174" y="440"/>
                          </a:cxn>
                          <a:cxn ang="0">
                            <a:pos x="282" y="426"/>
                          </a:cxn>
                          <a:cxn ang="0">
                            <a:pos x="264" y="468"/>
                          </a:cxn>
                          <a:cxn ang="0">
                            <a:pos x="354" y="468"/>
                          </a:cxn>
                          <a:cxn ang="0">
                            <a:pos x="390" y="426"/>
                          </a:cxn>
                          <a:cxn ang="0">
                            <a:pos x="412" y="454"/>
                          </a:cxn>
                          <a:cxn ang="0">
                            <a:pos x="480" y="400"/>
                          </a:cxn>
                          <a:cxn ang="0">
                            <a:pos x="502" y="454"/>
                          </a:cxn>
                          <a:cxn ang="0">
                            <a:pos x="540" y="454"/>
                          </a:cxn>
                          <a:cxn ang="0">
                            <a:pos x="560" y="412"/>
                          </a:cxn>
                          <a:cxn ang="0">
                            <a:pos x="512" y="344"/>
                          </a:cxn>
                          <a:cxn ang="0">
                            <a:pos x="480" y="304"/>
                          </a:cxn>
                          <a:cxn ang="0">
                            <a:pos x="486" y="302"/>
                          </a:cxn>
                          <a:cxn ang="0">
                            <a:pos x="448" y="230"/>
                          </a:cxn>
                          <a:cxn ang="0">
                            <a:pos x="276" y="240"/>
                          </a:cxn>
                        </a:cxnLst>
                        <a:rect l="0" t="0" r="r" b="b"/>
                        <a:pathLst>
                          <a:path w="560" h="468">
                            <a:moveTo>
                              <a:pt x="276" y="240"/>
                            </a:moveTo>
                            <a:lnTo>
                              <a:pt x="310" y="90"/>
                            </a:lnTo>
                            <a:lnTo>
                              <a:pt x="280" y="0"/>
                            </a:lnTo>
                            <a:lnTo>
                              <a:pt x="0" y="20"/>
                            </a:lnTo>
                            <a:lnTo>
                              <a:pt x="16" y="154"/>
                            </a:lnTo>
                            <a:lnTo>
                              <a:pt x="84" y="274"/>
                            </a:lnTo>
                            <a:lnTo>
                              <a:pt x="76" y="372"/>
                            </a:lnTo>
                            <a:lnTo>
                              <a:pt x="62" y="416"/>
                            </a:lnTo>
                            <a:lnTo>
                              <a:pt x="174" y="440"/>
                            </a:lnTo>
                            <a:lnTo>
                              <a:pt x="282" y="426"/>
                            </a:lnTo>
                            <a:lnTo>
                              <a:pt x="264" y="468"/>
                            </a:lnTo>
                            <a:lnTo>
                              <a:pt x="354" y="468"/>
                            </a:lnTo>
                            <a:lnTo>
                              <a:pt x="390" y="426"/>
                            </a:lnTo>
                            <a:lnTo>
                              <a:pt x="412" y="454"/>
                            </a:lnTo>
                            <a:lnTo>
                              <a:pt x="480" y="400"/>
                            </a:lnTo>
                            <a:lnTo>
                              <a:pt x="502" y="454"/>
                            </a:lnTo>
                            <a:lnTo>
                              <a:pt x="540" y="454"/>
                            </a:lnTo>
                            <a:lnTo>
                              <a:pt x="560" y="412"/>
                            </a:lnTo>
                            <a:lnTo>
                              <a:pt x="512" y="344"/>
                            </a:lnTo>
                            <a:lnTo>
                              <a:pt x="480" y="304"/>
                            </a:lnTo>
                            <a:lnTo>
                              <a:pt x="486" y="302"/>
                            </a:lnTo>
                            <a:lnTo>
                              <a:pt x="448" y="230"/>
                            </a:lnTo>
                            <a:lnTo>
                              <a:pt x="276" y="240"/>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72" name="Freeform 2856"/>
                      <p:cNvSpPr>
                        <a:spLocks/>
                      </p:cNvSpPr>
                      <p:nvPr/>
                    </p:nvSpPr>
                    <p:spPr bwMode="auto">
                      <a:xfrm>
                        <a:off x="1918" y="2303"/>
                        <a:ext cx="632" cy="712"/>
                      </a:xfrm>
                      <a:custGeom>
                        <a:avLst/>
                        <a:gdLst/>
                        <a:ahLst/>
                        <a:cxnLst>
                          <a:cxn ang="0">
                            <a:pos x="254" y="634"/>
                          </a:cxn>
                          <a:cxn ang="0">
                            <a:pos x="620" y="642"/>
                          </a:cxn>
                          <a:cxn ang="0">
                            <a:pos x="612" y="82"/>
                          </a:cxn>
                          <a:cxn ang="0">
                            <a:pos x="632" y="82"/>
                          </a:cxn>
                          <a:cxn ang="0">
                            <a:pos x="632" y="14"/>
                          </a:cxn>
                          <a:cxn ang="0">
                            <a:pos x="40" y="0"/>
                          </a:cxn>
                          <a:cxn ang="0">
                            <a:pos x="0" y="704"/>
                          </a:cxn>
                          <a:cxn ang="0">
                            <a:pos x="104" y="712"/>
                          </a:cxn>
                          <a:cxn ang="0">
                            <a:pos x="104" y="660"/>
                          </a:cxn>
                          <a:cxn ang="0">
                            <a:pos x="252" y="676"/>
                          </a:cxn>
                          <a:cxn ang="0">
                            <a:pos x="256" y="678"/>
                          </a:cxn>
                          <a:cxn ang="0">
                            <a:pos x="252" y="674"/>
                          </a:cxn>
                          <a:cxn ang="0">
                            <a:pos x="254" y="634"/>
                          </a:cxn>
                        </a:cxnLst>
                        <a:rect l="0" t="0" r="r" b="b"/>
                        <a:pathLst>
                          <a:path w="632" h="712">
                            <a:moveTo>
                              <a:pt x="254" y="634"/>
                            </a:moveTo>
                            <a:lnTo>
                              <a:pt x="620" y="642"/>
                            </a:lnTo>
                            <a:lnTo>
                              <a:pt x="612" y="82"/>
                            </a:lnTo>
                            <a:lnTo>
                              <a:pt x="632" y="82"/>
                            </a:lnTo>
                            <a:lnTo>
                              <a:pt x="632" y="14"/>
                            </a:lnTo>
                            <a:lnTo>
                              <a:pt x="40" y="0"/>
                            </a:lnTo>
                            <a:lnTo>
                              <a:pt x="0" y="704"/>
                            </a:lnTo>
                            <a:lnTo>
                              <a:pt x="104" y="712"/>
                            </a:lnTo>
                            <a:lnTo>
                              <a:pt x="104" y="660"/>
                            </a:lnTo>
                            <a:lnTo>
                              <a:pt x="252" y="676"/>
                            </a:lnTo>
                            <a:lnTo>
                              <a:pt x="256" y="678"/>
                            </a:lnTo>
                            <a:lnTo>
                              <a:pt x="252" y="674"/>
                            </a:lnTo>
                            <a:lnTo>
                              <a:pt x="254" y="634"/>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73" name="Freeform 2857"/>
                      <p:cNvSpPr>
                        <a:spLocks/>
                      </p:cNvSpPr>
                      <p:nvPr/>
                    </p:nvSpPr>
                    <p:spPr bwMode="auto">
                      <a:xfrm>
                        <a:off x="2176" y="2383"/>
                        <a:ext cx="1322" cy="1322"/>
                      </a:xfrm>
                      <a:custGeom>
                        <a:avLst/>
                        <a:gdLst/>
                        <a:ahLst/>
                        <a:cxnLst>
                          <a:cxn ang="0">
                            <a:pos x="1312" y="726"/>
                          </a:cxn>
                          <a:cxn ang="0">
                            <a:pos x="1322" y="630"/>
                          </a:cxn>
                          <a:cxn ang="0">
                            <a:pos x="1252" y="512"/>
                          </a:cxn>
                          <a:cxn ang="0">
                            <a:pos x="1234" y="376"/>
                          </a:cxn>
                          <a:cxn ang="0">
                            <a:pos x="1234" y="376"/>
                          </a:cxn>
                          <a:cxn ang="0">
                            <a:pos x="1234" y="376"/>
                          </a:cxn>
                          <a:cxn ang="0">
                            <a:pos x="1230" y="338"/>
                          </a:cxn>
                          <a:cxn ang="0">
                            <a:pos x="1120" y="292"/>
                          </a:cxn>
                          <a:cxn ang="0">
                            <a:pos x="852" y="304"/>
                          </a:cxn>
                          <a:cxn ang="0">
                            <a:pos x="644" y="236"/>
                          </a:cxn>
                          <a:cxn ang="0">
                            <a:pos x="632" y="0"/>
                          </a:cxn>
                          <a:cxn ang="0">
                            <a:pos x="362" y="10"/>
                          </a:cxn>
                          <a:cxn ang="0">
                            <a:pos x="370" y="572"/>
                          </a:cxn>
                          <a:cxn ang="0">
                            <a:pos x="0" y="562"/>
                          </a:cxn>
                          <a:cxn ang="0">
                            <a:pos x="0" y="600"/>
                          </a:cxn>
                          <a:cxn ang="0">
                            <a:pos x="174" y="756"/>
                          </a:cxn>
                          <a:cxn ang="0">
                            <a:pos x="212" y="878"/>
                          </a:cxn>
                          <a:cxn ang="0">
                            <a:pos x="372" y="958"/>
                          </a:cxn>
                          <a:cxn ang="0">
                            <a:pos x="442" y="850"/>
                          </a:cxn>
                          <a:cxn ang="0">
                            <a:pos x="562" y="864"/>
                          </a:cxn>
                          <a:cxn ang="0">
                            <a:pos x="770" y="1254"/>
                          </a:cxn>
                          <a:cxn ang="0">
                            <a:pos x="978" y="1322"/>
                          </a:cxn>
                          <a:cxn ang="0">
                            <a:pos x="1008" y="1268"/>
                          </a:cxn>
                          <a:cxn ang="0">
                            <a:pos x="968" y="1146"/>
                          </a:cxn>
                          <a:cxn ang="0">
                            <a:pos x="968" y="1014"/>
                          </a:cxn>
                          <a:cxn ang="0">
                            <a:pos x="1286" y="768"/>
                          </a:cxn>
                          <a:cxn ang="0">
                            <a:pos x="1300" y="772"/>
                          </a:cxn>
                          <a:cxn ang="0">
                            <a:pos x="1298" y="770"/>
                          </a:cxn>
                          <a:cxn ang="0">
                            <a:pos x="1312" y="726"/>
                          </a:cxn>
                        </a:cxnLst>
                        <a:rect l="0" t="0" r="r" b="b"/>
                        <a:pathLst>
                          <a:path w="1322" h="1322">
                            <a:moveTo>
                              <a:pt x="1312" y="726"/>
                            </a:moveTo>
                            <a:lnTo>
                              <a:pt x="1322" y="630"/>
                            </a:lnTo>
                            <a:lnTo>
                              <a:pt x="1252" y="512"/>
                            </a:lnTo>
                            <a:lnTo>
                              <a:pt x="1234" y="376"/>
                            </a:lnTo>
                            <a:lnTo>
                              <a:pt x="1234" y="376"/>
                            </a:lnTo>
                            <a:lnTo>
                              <a:pt x="1234" y="376"/>
                            </a:lnTo>
                            <a:lnTo>
                              <a:pt x="1230" y="338"/>
                            </a:lnTo>
                            <a:lnTo>
                              <a:pt x="1120" y="292"/>
                            </a:lnTo>
                            <a:lnTo>
                              <a:pt x="852" y="304"/>
                            </a:lnTo>
                            <a:lnTo>
                              <a:pt x="644" y="236"/>
                            </a:lnTo>
                            <a:lnTo>
                              <a:pt x="632" y="0"/>
                            </a:lnTo>
                            <a:lnTo>
                              <a:pt x="362" y="10"/>
                            </a:lnTo>
                            <a:lnTo>
                              <a:pt x="370" y="572"/>
                            </a:lnTo>
                            <a:lnTo>
                              <a:pt x="0" y="562"/>
                            </a:lnTo>
                            <a:lnTo>
                              <a:pt x="0" y="600"/>
                            </a:lnTo>
                            <a:lnTo>
                              <a:pt x="174" y="756"/>
                            </a:lnTo>
                            <a:lnTo>
                              <a:pt x="212" y="878"/>
                            </a:lnTo>
                            <a:lnTo>
                              <a:pt x="372" y="958"/>
                            </a:lnTo>
                            <a:lnTo>
                              <a:pt x="442" y="850"/>
                            </a:lnTo>
                            <a:lnTo>
                              <a:pt x="562" y="864"/>
                            </a:lnTo>
                            <a:lnTo>
                              <a:pt x="770" y="1254"/>
                            </a:lnTo>
                            <a:lnTo>
                              <a:pt x="978" y="1322"/>
                            </a:lnTo>
                            <a:lnTo>
                              <a:pt x="1008" y="1268"/>
                            </a:lnTo>
                            <a:lnTo>
                              <a:pt x="968" y="1146"/>
                            </a:lnTo>
                            <a:lnTo>
                              <a:pt x="968" y="1014"/>
                            </a:lnTo>
                            <a:lnTo>
                              <a:pt x="1286" y="768"/>
                            </a:lnTo>
                            <a:lnTo>
                              <a:pt x="1300" y="772"/>
                            </a:lnTo>
                            <a:lnTo>
                              <a:pt x="1298" y="770"/>
                            </a:lnTo>
                            <a:lnTo>
                              <a:pt x="1312" y="726"/>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74" name="Freeform 2858"/>
                      <p:cNvSpPr>
                        <a:spLocks/>
                      </p:cNvSpPr>
                      <p:nvPr/>
                    </p:nvSpPr>
                    <p:spPr bwMode="auto">
                      <a:xfrm>
                        <a:off x="3342" y="2335"/>
                        <a:ext cx="450" cy="420"/>
                      </a:xfrm>
                      <a:custGeom>
                        <a:avLst/>
                        <a:gdLst/>
                        <a:ahLst/>
                        <a:cxnLst>
                          <a:cxn ang="0">
                            <a:pos x="72" y="382"/>
                          </a:cxn>
                          <a:cxn ang="0">
                            <a:pos x="76" y="420"/>
                          </a:cxn>
                          <a:cxn ang="0">
                            <a:pos x="356" y="400"/>
                          </a:cxn>
                          <a:cxn ang="0">
                            <a:pos x="346" y="360"/>
                          </a:cxn>
                          <a:cxn ang="0">
                            <a:pos x="450" y="42"/>
                          </a:cxn>
                          <a:cxn ang="0">
                            <a:pos x="366" y="48"/>
                          </a:cxn>
                          <a:cxn ang="0">
                            <a:pos x="384" y="0"/>
                          </a:cxn>
                          <a:cxn ang="0">
                            <a:pos x="0" y="8"/>
                          </a:cxn>
                          <a:cxn ang="0">
                            <a:pos x="32" y="366"/>
                          </a:cxn>
                          <a:cxn ang="0">
                            <a:pos x="72" y="382"/>
                          </a:cxn>
                        </a:cxnLst>
                        <a:rect l="0" t="0" r="r" b="b"/>
                        <a:pathLst>
                          <a:path w="450" h="420">
                            <a:moveTo>
                              <a:pt x="72" y="382"/>
                            </a:moveTo>
                            <a:lnTo>
                              <a:pt x="76" y="420"/>
                            </a:lnTo>
                            <a:lnTo>
                              <a:pt x="356" y="400"/>
                            </a:lnTo>
                            <a:lnTo>
                              <a:pt x="346" y="360"/>
                            </a:lnTo>
                            <a:lnTo>
                              <a:pt x="450" y="42"/>
                            </a:lnTo>
                            <a:lnTo>
                              <a:pt x="366" y="48"/>
                            </a:lnTo>
                            <a:lnTo>
                              <a:pt x="384" y="0"/>
                            </a:lnTo>
                            <a:lnTo>
                              <a:pt x="0" y="8"/>
                            </a:lnTo>
                            <a:lnTo>
                              <a:pt x="32" y="366"/>
                            </a:lnTo>
                            <a:lnTo>
                              <a:pt x="72" y="382"/>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75" name="Freeform 2859"/>
                      <p:cNvSpPr>
                        <a:spLocks/>
                      </p:cNvSpPr>
                      <p:nvPr/>
                    </p:nvSpPr>
                    <p:spPr bwMode="auto">
                      <a:xfrm>
                        <a:off x="2556" y="2289"/>
                        <a:ext cx="808" cy="408"/>
                      </a:xfrm>
                      <a:custGeom>
                        <a:avLst/>
                        <a:gdLst/>
                        <a:ahLst/>
                        <a:cxnLst>
                          <a:cxn ang="0">
                            <a:pos x="0" y="28"/>
                          </a:cxn>
                          <a:cxn ang="0">
                            <a:pos x="2" y="96"/>
                          </a:cxn>
                          <a:cxn ang="0">
                            <a:pos x="256" y="88"/>
                          </a:cxn>
                          <a:cxn ang="0">
                            <a:pos x="270" y="326"/>
                          </a:cxn>
                          <a:cxn ang="0">
                            <a:pos x="472" y="394"/>
                          </a:cxn>
                          <a:cxn ang="0">
                            <a:pos x="742" y="380"/>
                          </a:cxn>
                          <a:cxn ang="0">
                            <a:pos x="808" y="408"/>
                          </a:cxn>
                          <a:cxn ang="0">
                            <a:pos x="774" y="0"/>
                          </a:cxn>
                          <a:cxn ang="0">
                            <a:pos x="0" y="28"/>
                          </a:cxn>
                        </a:cxnLst>
                        <a:rect l="0" t="0" r="r" b="b"/>
                        <a:pathLst>
                          <a:path w="808" h="408">
                            <a:moveTo>
                              <a:pt x="0" y="28"/>
                            </a:moveTo>
                            <a:lnTo>
                              <a:pt x="2" y="96"/>
                            </a:lnTo>
                            <a:lnTo>
                              <a:pt x="256" y="88"/>
                            </a:lnTo>
                            <a:lnTo>
                              <a:pt x="270" y="326"/>
                            </a:lnTo>
                            <a:lnTo>
                              <a:pt x="472" y="394"/>
                            </a:lnTo>
                            <a:lnTo>
                              <a:pt x="742" y="380"/>
                            </a:lnTo>
                            <a:lnTo>
                              <a:pt x="808" y="408"/>
                            </a:lnTo>
                            <a:lnTo>
                              <a:pt x="774" y="0"/>
                            </a:lnTo>
                            <a:lnTo>
                              <a:pt x="0" y="28"/>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76" name="Freeform 2860"/>
                      <p:cNvSpPr>
                        <a:spLocks/>
                      </p:cNvSpPr>
                      <p:nvPr/>
                    </p:nvSpPr>
                    <p:spPr bwMode="auto">
                      <a:xfrm>
                        <a:off x="1500" y="1631"/>
                        <a:ext cx="500" cy="668"/>
                      </a:xfrm>
                      <a:custGeom>
                        <a:avLst/>
                        <a:gdLst/>
                        <a:ahLst/>
                        <a:cxnLst>
                          <a:cxn ang="0">
                            <a:pos x="0" y="588"/>
                          </a:cxn>
                          <a:cxn ang="0">
                            <a:pos x="452" y="668"/>
                          </a:cxn>
                          <a:cxn ang="0">
                            <a:pos x="500" y="202"/>
                          </a:cxn>
                          <a:cxn ang="0">
                            <a:pos x="312" y="176"/>
                          </a:cxn>
                          <a:cxn ang="0">
                            <a:pos x="336" y="54"/>
                          </a:cxn>
                          <a:cxn ang="0">
                            <a:pos x="76" y="0"/>
                          </a:cxn>
                          <a:cxn ang="0">
                            <a:pos x="0" y="588"/>
                          </a:cxn>
                        </a:cxnLst>
                        <a:rect l="0" t="0" r="r" b="b"/>
                        <a:pathLst>
                          <a:path w="500" h="668">
                            <a:moveTo>
                              <a:pt x="0" y="588"/>
                            </a:moveTo>
                            <a:lnTo>
                              <a:pt x="452" y="668"/>
                            </a:lnTo>
                            <a:lnTo>
                              <a:pt x="500" y="202"/>
                            </a:lnTo>
                            <a:lnTo>
                              <a:pt x="312" y="176"/>
                            </a:lnTo>
                            <a:lnTo>
                              <a:pt x="336" y="54"/>
                            </a:lnTo>
                            <a:lnTo>
                              <a:pt x="76" y="0"/>
                            </a:lnTo>
                            <a:lnTo>
                              <a:pt x="0" y="588"/>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77" name="Freeform 2861"/>
                      <p:cNvSpPr>
                        <a:spLocks/>
                      </p:cNvSpPr>
                      <p:nvPr/>
                    </p:nvSpPr>
                    <p:spPr bwMode="auto">
                      <a:xfrm>
                        <a:off x="3546" y="929"/>
                        <a:ext cx="532" cy="252"/>
                      </a:xfrm>
                      <a:custGeom>
                        <a:avLst/>
                        <a:gdLst/>
                        <a:ahLst/>
                        <a:cxnLst>
                          <a:cxn ang="0">
                            <a:pos x="230" y="214"/>
                          </a:cxn>
                          <a:cxn ang="0">
                            <a:pos x="236" y="252"/>
                          </a:cxn>
                          <a:cxn ang="0">
                            <a:pos x="262" y="252"/>
                          </a:cxn>
                          <a:cxn ang="0">
                            <a:pos x="284" y="200"/>
                          </a:cxn>
                          <a:cxn ang="0">
                            <a:pos x="362" y="160"/>
                          </a:cxn>
                          <a:cxn ang="0">
                            <a:pos x="444" y="122"/>
                          </a:cxn>
                          <a:cxn ang="0">
                            <a:pos x="532" y="122"/>
                          </a:cxn>
                          <a:cxn ang="0">
                            <a:pos x="444" y="14"/>
                          </a:cxn>
                          <a:cxn ang="0">
                            <a:pos x="306" y="96"/>
                          </a:cxn>
                          <a:cxn ang="0">
                            <a:pos x="244" y="106"/>
                          </a:cxn>
                          <a:cxn ang="0">
                            <a:pos x="206" y="70"/>
                          </a:cxn>
                          <a:cxn ang="0">
                            <a:pos x="154" y="80"/>
                          </a:cxn>
                          <a:cxn ang="0">
                            <a:pos x="174" y="0"/>
                          </a:cxn>
                          <a:cxn ang="0">
                            <a:pos x="4" y="134"/>
                          </a:cxn>
                          <a:cxn ang="0">
                            <a:pos x="0" y="134"/>
                          </a:cxn>
                          <a:cxn ang="0">
                            <a:pos x="18" y="186"/>
                          </a:cxn>
                          <a:cxn ang="0">
                            <a:pos x="230" y="214"/>
                          </a:cxn>
                        </a:cxnLst>
                        <a:rect l="0" t="0" r="r" b="b"/>
                        <a:pathLst>
                          <a:path w="532" h="252">
                            <a:moveTo>
                              <a:pt x="230" y="214"/>
                            </a:moveTo>
                            <a:lnTo>
                              <a:pt x="236" y="252"/>
                            </a:lnTo>
                            <a:lnTo>
                              <a:pt x="262" y="252"/>
                            </a:lnTo>
                            <a:lnTo>
                              <a:pt x="284" y="200"/>
                            </a:lnTo>
                            <a:lnTo>
                              <a:pt x="362" y="160"/>
                            </a:lnTo>
                            <a:lnTo>
                              <a:pt x="444" y="122"/>
                            </a:lnTo>
                            <a:lnTo>
                              <a:pt x="532" y="122"/>
                            </a:lnTo>
                            <a:lnTo>
                              <a:pt x="444" y="14"/>
                            </a:lnTo>
                            <a:lnTo>
                              <a:pt x="306" y="96"/>
                            </a:lnTo>
                            <a:lnTo>
                              <a:pt x="244" y="106"/>
                            </a:lnTo>
                            <a:lnTo>
                              <a:pt x="206" y="70"/>
                            </a:lnTo>
                            <a:lnTo>
                              <a:pt x="154" y="80"/>
                            </a:lnTo>
                            <a:lnTo>
                              <a:pt x="174" y="0"/>
                            </a:lnTo>
                            <a:lnTo>
                              <a:pt x="4" y="134"/>
                            </a:lnTo>
                            <a:lnTo>
                              <a:pt x="0" y="134"/>
                            </a:lnTo>
                            <a:lnTo>
                              <a:pt x="18" y="186"/>
                            </a:lnTo>
                            <a:lnTo>
                              <a:pt x="230" y="21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78" name="Freeform 2862"/>
                      <p:cNvSpPr>
                        <a:spLocks/>
                      </p:cNvSpPr>
                      <p:nvPr/>
                    </p:nvSpPr>
                    <p:spPr bwMode="auto">
                      <a:xfrm>
                        <a:off x="1958" y="1833"/>
                        <a:ext cx="676" cy="476"/>
                      </a:xfrm>
                      <a:custGeom>
                        <a:avLst/>
                        <a:gdLst/>
                        <a:ahLst/>
                        <a:cxnLst>
                          <a:cxn ang="0">
                            <a:pos x="670" y="118"/>
                          </a:cxn>
                          <a:cxn ang="0">
                            <a:pos x="662" y="26"/>
                          </a:cxn>
                          <a:cxn ang="0">
                            <a:pos x="50" y="0"/>
                          </a:cxn>
                          <a:cxn ang="0">
                            <a:pos x="0" y="466"/>
                          </a:cxn>
                          <a:cxn ang="0">
                            <a:pos x="594" y="476"/>
                          </a:cxn>
                          <a:cxn ang="0">
                            <a:pos x="676" y="474"/>
                          </a:cxn>
                          <a:cxn ang="0">
                            <a:pos x="668" y="118"/>
                          </a:cxn>
                          <a:cxn ang="0">
                            <a:pos x="670" y="118"/>
                          </a:cxn>
                        </a:cxnLst>
                        <a:rect l="0" t="0" r="r" b="b"/>
                        <a:pathLst>
                          <a:path w="676" h="476">
                            <a:moveTo>
                              <a:pt x="670" y="118"/>
                            </a:moveTo>
                            <a:lnTo>
                              <a:pt x="662" y="26"/>
                            </a:lnTo>
                            <a:lnTo>
                              <a:pt x="50" y="0"/>
                            </a:lnTo>
                            <a:lnTo>
                              <a:pt x="0" y="466"/>
                            </a:lnTo>
                            <a:lnTo>
                              <a:pt x="594" y="476"/>
                            </a:lnTo>
                            <a:lnTo>
                              <a:pt x="676" y="474"/>
                            </a:lnTo>
                            <a:lnTo>
                              <a:pt x="668" y="118"/>
                            </a:lnTo>
                            <a:lnTo>
                              <a:pt x="670" y="118"/>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79" name="Freeform 2863"/>
                      <p:cNvSpPr>
                        <a:spLocks/>
                      </p:cNvSpPr>
                      <p:nvPr/>
                    </p:nvSpPr>
                    <p:spPr bwMode="auto">
                      <a:xfrm>
                        <a:off x="698" y="1433"/>
                        <a:ext cx="742" cy="1358"/>
                      </a:xfrm>
                      <a:custGeom>
                        <a:avLst/>
                        <a:gdLst/>
                        <a:ahLst/>
                        <a:cxnLst>
                          <a:cxn ang="0">
                            <a:pos x="694" y="1314"/>
                          </a:cxn>
                          <a:cxn ang="0">
                            <a:pos x="682" y="1260"/>
                          </a:cxn>
                          <a:cxn ang="0">
                            <a:pos x="732" y="1150"/>
                          </a:cxn>
                          <a:cxn ang="0">
                            <a:pos x="742" y="1140"/>
                          </a:cxn>
                          <a:cxn ang="0">
                            <a:pos x="712" y="1044"/>
                          </a:cxn>
                          <a:cxn ang="0">
                            <a:pos x="324" y="482"/>
                          </a:cxn>
                          <a:cxn ang="0">
                            <a:pos x="334" y="454"/>
                          </a:cxn>
                          <a:cxn ang="0">
                            <a:pos x="324" y="426"/>
                          </a:cxn>
                          <a:cxn ang="0">
                            <a:pos x="402" y="98"/>
                          </a:cxn>
                          <a:cxn ang="0">
                            <a:pos x="70" y="8"/>
                          </a:cxn>
                          <a:cxn ang="0">
                            <a:pos x="68" y="0"/>
                          </a:cxn>
                          <a:cxn ang="0">
                            <a:pos x="70" y="34"/>
                          </a:cxn>
                          <a:cxn ang="0">
                            <a:pos x="0" y="156"/>
                          </a:cxn>
                          <a:cxn ang="0">
                            <a:pos x="42" y="278"/>
                          </a:cxn>
                          <a:cxn ang="0">
                            <a:pos x="32" y="384"/>
                          </a:cxn>
                          <a:cxn ang="0">
                            <a:pos x="102" y="534"/>
                          </a:cxn>
                          <a:cxn ang="0">
                            <a:pos x="102" y="614"/>
                          </a:cxn>
                          <a:cxn ang="0">
                            <a:pos x="122" y="682"/>
                          </a:cxn>
                          <a:cxn ang="0">
                            <a:pos x="90" y="734"/>
                          </a:cxn>
                          <a:cxn ang="0">
                            <a:pos x="190" y="870"/>
                          </a:cxn>
                          <a:cxn ang="0">
                            <a:pos x="190" y="1006"/>
                          </a:cxn>
                          <a:cxn ang="0">
                            <a:pos x="360" y="1114"/>
                          </a:cxn>
                          <a:cxn ang="0">
                            <a:pos x="360" y="1178"/>
                          </a:cxn>
                          <a:cxn ang="0">
                            <a:pos x="450" y="1236"/>
                          </a:cxn>
                          <a:cxn ang="0">
                            <a:pos x="450" y="1342"/>
                          </a:cxn>
                          <a:cxn ang="0">
                            <a:pos x="668" y="1354"/>
                          </a:cxn>
                          <a:cxn ang="0">
                            <a:pos x="672" y="1358"/>
                          </a:cxn>
                          <a:cxn ang="0">
                            <a:pos x="668" y="1354"/>
                          </a:cxn>
                          <a:cxn ang="0">
                            <a:pos x="694" y="1314"/>
                          </a:cxn>
                        </a:cxnLst>
                        <a:rect l="0" t="0" r="r" b="b"/>
                        <a:pathLst>
                          <a:path w="742" h="1358">
                            <a:moveTo>
                              <a:pt x="694" y="1314"/>
                            </a:moveTo>
                            <a:lnTo>
                              <a:pt x="682" y="1260"/>
                            </a:lnTo>
                            <a:lnTo>
                              <a:pt x="732" y="1150"/>
                            </a:lnTo>
                            <a:lnTo>
                              <a:pt x="742" y="1140"/>
                            </a:lnTo>
                            <a:lnTo>
                              <a:pt x="712" y="1044"/>
                            </a:lnTo>
                            <a:lnTo>
                              <a:pt x="324" y="482"/>
                            </a:lnTo>
                            <a:lnTo>
                              <a:pt x="334" y="454"/>
                            </a:lnTo>
                            <a:lnTo>
                              <a:pt x="324" y="426"/>
                            </a:lnTo>
                            <a:lnTo>
                              <a:pt x="402" y="98"/>
                            </a:lnTo>
                            <a:lnTo>
                              <a:pt x="70" y="8"/>
                            </a:lnTo>
                            <a:lnTo>
                              <a:pt x="68" y="0"/>
                            </a:lnTo>
                            <a:lnTo>
                              <a:pt x="70" y="34"/>
                            </a:lnTo>
                            <a:lnTo>
                              <a:pt x="0" y="156"/>
                            </a:lnTo>
                            <a:lnTo>
                              <a:pt x="42" y="278"/>
                            </a:lnTo>
                            <a:lnTo>
                              <a:pt x="32" y="384"/>
                            </a:lnTo>
                            <a:lnTo>
                              <a:pt x="102" y="534"/>
                            </a:lnTo>
                            <a:lnTo>
                              <a:pt x="102" y="614"/>
                            </a:lnTo>
                            <a:lnTo>
                              <a:pt x="122" y="682"/>
                            </a:lnTo>
                            <a:lnTo>
                              <a:pt x="90" y="734"/>
                            </a:lnTo>
                            <a:lnTo>
                              <a:pt x="190" y="870"/>
                            </a:lnTo>
                            <a:lnTo>
                              <a:pt x="190" y="1006"/>
                            </a:lnTo>
                            <a:lnTo>
                              <a:pt x="360" y="1114"/>
                            </a:lnTo>
                            <a:lnTo>
                              <a:pt x="360" y="1178"/>
                            </a:lnTo>
                            <a:lnTo>
                              <a:pt x="450" y="1236"/>
                            </a:lnTo>
                            <a:lnTo>
                              <a:pt x="450" y="1342"/>
                            </a:lnTo>
                            <a:lnTo>
                              <a:pt x="668" y="1354"/>
                            </a:lnTo>
                            <a:lnTo>
                              <a:pt x="672" y="1358"/>
                            </a:lnTo>
                            <a:lnTo>
                              <a:pt x="668" y="1354"/>
                            </a:lnTo>
                            <a:lnTo>
                              <a:pt x="694" y="1314"/>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80" name="Freeform 2864"/>
                      <p:cNvSpPr>
                        <a:spLocks/>
                      </p:cNvSpPr>
                      <p:nvPr/>
                    </p:nvSpPr>
                    <p:spPr bwMode="auto">
                      <a:xfrm>
                        <a:off x="1816" y="1295"/>
                        <a:ext cx="656" cy="550"/>
                      </a:xfrm>
                      <a:custGeom>
                        <a:avLst/>
                        <a:gdLst/>
                        <a:ahLst/>
                        <a:cxnLst>
                          <a:cxn ang="0">
                            <a:pos x="26" y="388"/>
                          </a:cxn>
                          <a:cxn ang="0">
                            <a:pos x="28" y="388"/>
                          </a:cxn>
                          <a:cxn ang="0">
                            <a:pos x="0" y="508"/>
                          </a:cxn>
                          <a:cxn ang="0">
                            <a:pos x="192" y="536"/>
                          </a:cxn>
                          <a:cxn ang="0">
                            <a:pos x="650" y="550"/>
                          </a:cxn>
                          <a:cxn ang="0">
                            <a:pos x="656" y="40"/>
                          </a:cxn>
                          <a:cxn ang="0">
                            <a:pos x="64" y="0"/>
                          </a:cxn>
                          <a:cxn ang="0">
                            <a:pos x="26" y="388"/>
                          </a:cxn>
                        </a:cxnLst>
                        <a:rect l="0" t="0" r="r" b="b"/>
                        <a:pathLst>
                          <a:path w="656" h="550">
                            <a:moveTo>
                              <a:pt x="26" y="388"/>
                            </a:moveTo>
                            <a:lnTo>
                              <a:pt x="28" y="388"/>
                            </a:lnTo>
                            <a:lnTo>
                              <a:pt x="0" y="508"/>
                            </a:lnTo>
                            <a:lnTo>
                              <a:pt x="192" y="536"/>
                            </a:lnTo>
                            <a:lnTo>
                              <a:pt x="650" y="550"/>
                            </a:lnTo>
                            <a:lnTo>
                              <a:pt x="656" y="40"/>
                            </a:lnTo>
                            <a:lnTo>
                              <a:pt x="64" y="0"/>
                            </a:lnTo>
                            <a:lnTo>
                              <a:pt x="26" y="388"/>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81" name="Freeform 2865"/>
                      <p:cNvSpPr>
                        <a:spLocks/>
                      </p:cNvSpPr>
                      <p:nvPr/>
                    </p:nvSpPr>
                    <p:spPr bwMode="auto">
                      <a:xfrm>
                        <a:off x="3766" y="2147"/>
                        <a:ext cx="762" cy="324"/>
                      </a:xfrm>
                      <a:custGeom>
                        <a:avLst/>
                        <a:gdLst/>
                        <a:ahLst/>
                        <a:cxnLst>
                          <a:cxn ang="0">
                            <a:pos x="206" y="304"/>
                          </a:cxn>
                          <a:cxn ang="0">
                            <a:pos x="554" y="246"/>
                          </a:cxn>
                          <a:cxn ang="0">
                            <a:pos x="580" y="154"/>
                          </a:cxn>
                          <a:cxn ang="0">
                            <a:pos x="752" y="30"/>
                          </a:cxn>
                          <a:cxn ang="0">
                            <a:pos x="762" y="0"/>
                          </a:cxn>
                          <a:cxn ang="0">
                            <a:pos x="762" y="0"/>
                          </a:cxn>
                          <a:cxn ang="0">
                            <a:pos x="332" y="88"/>
                          </a:cxn>
                          <a:cxn ang="0">
                            <a:pos x="54" y="134"/>
                          </a:cxn>
                          <a:cxn ang="0">
                            <a:pos x="32" y="134"/>
                          </a:cxn>
                          <a:cxn ang="0">
                            <a:pos x="32" y="230"/>
                          </a:cxn>
                          <a:cxn ang="0">
                            <a:pos x="30" y="230"/>
                          </a:cxn>
                          <a:cxn ang="0">
                            <a:pos x="0" y="324"/>
                          </a:cxn>
                          <a:cxn ang="0">
                            <a:pos x="206" y="304"/>
                          </a:cxn>
                        </a:cxnLst>
                        <a:rect l="0" t="0" r="r" b="b"/>
                        <a:pathLst>
                          <a:path w="762" h="324">
                            <a:moveTo>
                              <a:pt x="206" y="304"/>
                            </a:moveTo>
                            <a:lnTo>
                              <a:pt x="554" y="246"/>
                            </a:lnTo>
                            <a:lnTo>
                              <a:pt x="580" y="154"/>
                            </a:lnTo>
                            <a:lnTo>
                              <a:pt x="752" y="30"/>
                            </a:lnTo>
                            <a:lnTo>
                              <a:pt x="762" y="0"/>
                            </a:lnTo>
                            <a:lnTo>
                              <a:pt x="762" y="0"/>
                            </a:lnTo>
                            <a:lnTo>
                              <a:pt x="332" y="88"/>
                            </a:lnTo>
                            <a:lnTo>
                              <a:pt x="54" y="134"/>
                            </a:lnTo>
                            <a:lnTo>
                              <a:pt x="32" y="134"/>
                            </a:lnTo>
                            <a:lnTo>
                              <a:pt x="32" y="230"/>
                            </a:lnTo>
                            <a:lnTo>
                              <a:pt x="30" y="230"/>
                            </a:lnTo>
                            <a:lnTo>
                              <a:pt x="0" y="324"/>
                            </a:lnTo>
                            <a:lnTo>
                              <a:pt x="206" y="304"/>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82" name="Freeform 2866"/>
                      <p:cNvSpPr>
                        <a:spLocks/>
                      </p:cNvSpPr>
                      <p:nvPr/>
                    </p:nvSpPr>
                    <p:spPr bwMode="auto">
                      <a:xfrm>
                        <a:off x="4324" y="1975"/>
                        <a:ext cx="788" cy="418"/>
                      </a:xfrm>
                      <a:custGeom>
                        <a:avLst/>
                        <a:gdLst/>
                        <a:ahLst/>
                        <a:cxnLst>
                          <a:cxn ang="0">
                            <a:pos x="196" y="202"/>
                          </a:cxn>
                          <a:cxn ang="0">
                            <a:pos x="26" y="326"/>
                          </a:cxn>
                          <a:cxn ang="0">
                            <a:pos x="0" y="418"/>
                          </a:cxn>
                          <a:cxn ang="0">
                            <a:pos x="62" y="408"/>
                          </a:cxn>
                          <a:cxn ang="0">
                            <a:pos x="312" y="310"/>
                          </a:cxn>
                          <a:cxn ang="0">
                            <a:pos x="344" y="344"/>
                          </a:cxn>
                          <a:cxn ang="0">
                            <a:pos x="424" y="326"/>
                          </a:cxn>
                          <a:cxn ang="0">
                            <a:pos x="558" y="414"/>
                          </a:cxn>
                          <a:cxn ang="0">
                            <a:pos x="560" y="408"/>
                          </a:cxn>
                          <a:cxn ang="0">
                            <a:pos x="628" y="368"/>
                          </a:cxn>
                          <a:cxn ang="0">
                            <a:pos x="628" y="328"/>
                          </a:cxn>
                          <a:cxn ang="0">
                            <a:pos x="678" y="248"/>
                          </a:cxn>
                          <a:cxn ang="0">
                            <a:pos x="738" y="248"/>
                          </a:cxn>
                          <a:cxn ang="0">
                            <a:pos x="788" y="128"/>
                          </a:cxn>
                          <a:cxn ang="0">
                            <a:pos x="788" y="46"/>
                          </a:cxn>
                          <a:cxn ang="0">
                            <a:pos x="754" y="0"/>
                          </a:cxn>
                          <a:cxn ang="0">
                            <a:pos x="208" y="170"/>
                          </a:cxn>
                          <a:cxn ang="0">
                            <a:pos x="196" y="202"/>
                          </a:cxn>
                        </a:cxnLst>
                        <a:rect l="0" t="0" r="r" b="b"/>
                        <a:pathLst>
                          <a:path w="788" h="418">
                            <a:moveTo>
                              <a:pt x="196" y="202"/>
                            </a:moveTo>
                            <a:lnTo>
                              <a:pt x="26" y="326"/>
                            </a:lnTo>
                            <a:lnTo>
                              <a:pt x="0" y="418"/>
                            </a:lnTo>
                            <a:lnTo>
                              <a:pt x="62" y="408"/>
                            </a:lnTo>
                            <a:lnTo>
                              <a:pt x="312" y="310"/>
                            </a:lnTo>
                            <a:lnTo>
                              <a:pt x="344" y="344"/>
                            </a:lnTo>
                            <a:lnTo>
                              <a:pt x="424" y="326"/>
                            </a:lnTo>
                            <a:lnTo>
                              <a:pt x="558" y="414"/>
                            </a:lnTo>
                            <a:lnTo>
                              <a:pt x="560" y="408"/>
                            </a:lnTo>
                            <a:lnTo>
                              <a:pt x="628" y="368"/>
                            </a:lnTo>
                            <a:lnTo>
                              <a:pt x="628" y="328"/>
                            </a:lnTo>
                            <a:lnTo>
                              <a:pt x="678" y="248"/>
                            </a:lnTo>
                            <a:lnTo>
                              <a:pt x="738" y="248"/>
                            </a:lnTo>
                            <a:lnTo>
                              <a:pt x="788" y="128"/>
                            </a:lnTo>
                            <a:lnTo>
                              <a:pt x="788" y="46"/>
                            </a:lnTo>
                            <a:lnTo>
                              <a:pt x="754" y="0"/>
                            </a:lnTo>
                            <a:lnTo>
                              <a:pt x="208" y="170"/>
                            </a:lnTo>
                            <a:lnTo>
                              <a:pt x="196" y="202"/>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83" name="Freeform 2867"/>
                      <p:cNvSpPr>
                        <a:spLocks/>
                      </p:cNvSpPr>
                      <p:nvPr/>
                    </p:nvSpPr>
                    <p:spPr bwMode="auto">
                      <a:xfrm>
                        <a:off x="5106" y="1349"/>
                        <a:ext cx="110" cy="76"/>
                      </a:xfrm>
                      <a:custGeom>
                        <a:avLst/>
                        <a:gdLst/>
                        <a:ahLst/>
                        <a:cxnLst>
                          <a:cxn ang="0">
                            <a:pos x="14" y="38"/>
                          </a:cxn>
                          <a:cxn ang="0">
                            <a:pos x="0" y="76"/>
                          </a:cxn>
                          <a:cxn ang="0">
                            <a:pos x="46" y="52"/>
                          </a:cxn>
                          <a:cxn ang="0">
                            <a:pos x="106" y="12"/>
                          </a:cxn>
                          <a:cxn ang="0">
                            <a:pos x="110" y="0"/>
                          </a:cxn>
                          <a:cxn ang="0">
                            <a:pos x="98" y="0"/>
                          </a:cxn>
                          <a:cxn ang="0">
                            <a:pos x="14" y="38"/>
                          </a:cxn>
                        </a:cxnLst>
                        <a:rect l="0" t="0" r="r" b="b"/>
                        <a:pathLst>
                          <a:path w="110" h="76">
                            <a:moveTo>
                              <a:pt x="14" y="38"/>
                            </a:moveTo>
                            <a:lnTo>
                              <a:pt x="0" y="76"/>
                            </a:lnTo>
                            <a:lnTo>
                              <a:pt x="46" y="52"/>
                            </a:lnTo>
                            <a:lnTo>
                              <a:pt x="106" y="12"/>
                            </a:lnTo>
                            <a:lnTo>
                              <a:pt x="110" y="0"/>
                            </a:lnTo>
                            <a:lnTo>
                              <a:pt x="98" y="0"/>
                            </a:lnTo>
                            <a:lnTo>
                              <a:pt x="14" y="38"/>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84" name="Freeform 2868"/>
                      <p:cNvSpPr>
                        <a:spLocks/>
                      </p:cNvSpPr>
                      <p:nvPr/>
                    </p:nvSpPr>
                    <p:spPr bwMode="auto">
                      <a:xfrm>
                        <a:off x="2628" y="1945"/>
                        <a:ext cx="700" cy="362"/>
                      </a:xfrm>
                      <a:custGeom>
                        <a:avLst/>
                        <a:gdLst/>
                        <a:ahLst/>
                        <a:cxnLst>
                          <a:cxn ang="0">
                            <a:pos x="626" y="62"/>
                          </a:cxn>
                          <a:cxn ang="0">
                            <a:pos x="642" y="0"/>
                          </a:cxn>
                          <a:cxn ang="0">
                            <a:pos x="606" y="0"/>
                          </a:cxn>
                          <a:cxn ang="0">
                            <a:pos x="608" y="0"/>
                          </a:cxn>
                          <a:cxn ang="0">
                            <a:pos x="0" y="8"/>
                          </a:cxn>
                          <a:cxn ang="0">
                            <a:pos x="10" y="362"/>
                          </a:cxn>
                          <a:cxn ang="0">
                            <a:pos x="700" y="338"/>
                          </a:cxn>
                          <a:cxn ang="0">
                            <a:pos x="680" y="90"/>
                          </a:cxn>
                          <a:cxn ang="0">
                            <a:pos x="626" y="62"/>
                          </a:cxn>
                        </a:cxnLst>
                        <a:rect l="0" t="0" r="r" b="b"/>
                        <a:pathLst>
                          <a:path w="700" h="362">
                            <a:moveTo>
                              <a:pt x="626" y="62"/>
                            </a:moveTo>
                            <a:lnTo>
                              <a:pt x="642" y="0"/>
                            </a:lnTo>
                            <a:lnTo>
                              <a:pt x="606" y="0"/>
                            </a:lnTo>
                            <a:lnTo>
                              <a:pt x="608" y="0"/>
                            </a:lnTo>
                            <a:lnTo>
                              <a:pt x="0" y="8"/>
                            </a:lnTo>
                            <a:lnTo>
                              <a:pt x="10" y="362"/>
                            </a:lnTo>
                            <a:lnTo>
                              <a:pt x="700" y="338"/>
                            </a:lnTo>
                            <a:lnTo>
                              <a:pt x="680" y="90"/>
                            </a:lnTo>
                            <a:lnTo>
                              <a:pt x="626" y="6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85" name="Freeform 2869"/>
                      <p:cNvSpPr>
                        <a:spLocks/>
                      </p:cNvSpPr>
                      <p:nvPr/>
                    </p:nvSpPr>
                    <p:spPr bwMode="auto">
                      <a:xfrm>
                        <a:off x="3908" y="1089"/>
                        <a:ext cx="390" cy="510"/>
                      </a:xfrm>
                      <a:custGeom>
                        <a:avLst/>
                        <a:gdLst/>
                        <a:ahLst/>
                        <a:cxnLst>
                          <a:cxn ang="0">
                            <a:pos x="350" y="464"/>
                          </a:cxn>
                          <a:cxn ang="0">
                            <a:pos x="338" y="460"/>
                          </a:cxn>
                          <a:cxn ang="0">
                            <a:pos x="390" y="284"/>
                          </a:cxn>
                          <a:cxn ang="0">
                            <a:pos x="320" y="164"/>
                          </a:cxn>
                          <a:cxn ang="0">
                            <a:pos x="280" y="190"/>
                          </a:cxn>
                          <a:cxn ang="0">
                            <a:pos x="250" y="14"/>
                          </a:cxn>
                          <a:cxn ang="0">
                            <a:pos x="100" y="0"/>
                          </a:cxn>
                          <a:cxn ang="0">
                            <a:pos x="100" y="28"/>
                          </a:cxn>
                          <a:cxn ang="0">
                            <a:pos x="22" y="124"/>
                          </a:cxn>
                          <a:cxn ang="0">
                            <a:pos x="0" y="232"/>
                          </a:cxn>
                          <a:cxn ang="0">
                            <a:pos x="12" y="272"/>
                          </a:cxn>
                          <a:cxn ang="0">
                            <a:pos x="50" y="378"/>
                          </a:cxn>
                          <a:cxn ang="0">
                            <a:pos x="50" y="486"/>
                          </a:cxn>
                          <a:cxn ang="0">
                            <a:pos x="24" y="510"/>
                          </a:cxn>
                          <a:cxn ang="0">
                            <a:pos x="212" y="506"/>
                          </a:cxn>
                          <a:cxn ang="0">
                            <a:pos x="350" y="464"/>
                          </a:cxn>
                        </a:cxnLst>
                        <a:rect l="0" t="0" r="r" b="b"/>
                        <a:pathLst>
                          <a:path w="390" h="510">
                            <a:moveTo>
                              <a:pt x="350" y="464"/>
                            </a:moveTo>
                            <a:lnTo>
                              <a:pt x="338" y="460"/>
                            </a:lnTo>
                            <a:lnTo>
                              <a:pt x="390" y="284"/>
                            </a:lnTo>
                            <a:lnTo>
                              <a:pt x="320" y="164"/>
                            </a:lnTo>
                            <a:lnTo>
                              <a:pt x="280" y="190"/>
                            </a:lnTo>
                            <a:lnTo>
                              <a:pt x="250" y="14"/>
                            </a:lnTo>
                            <a:lnTo>
                              <a:pt x="100" y="0"/>
                            </a:lnTo>
                            <a:lnTo>
                              <a:pt x="100" y="28"/>
                            </a:lnTo>
                            <a:lnTo>
                              <a:pt x="22" y="124"/>
                            </a:lnTo>
                            <a:lnTo>
                              <a:pt x="0" y="232"/>
                            </a:lnTo>
                            <a:lnTo>
                              <a:pt x="12" y="272"/>
                            </a:lnTo>
                            <a:lnTo>
                              <a:pt x="50" y="378"/>
                            </a:lnTo>
                            <a:lnTo>
                              <a:pt x="50" y="486"/>
                            </a:lnTo>
                            <a:lnTo>
                              <a:pt x="24" y="510"/>
                            </a:lnTo>
                            <a:lnTo>
                              <a:pt x="212" y="506"/>
                            </a:lnTo>
                            <a:lnTo>
                              <a:pt x="350" y="46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86" name="Freeform 2870"/>
                      <p:cNvSpPr>
                        <a:spLocks/>
                      </p:cNvSpPr>
                      <p:nvPr/>
                    </p:nvSpPr>
                    <p:spPr bwMode="auto">
                      <a:xfrm>
                        <a:off x="1028" y="1531"/>
                        <a:ext cx="540" cy="942"/>
                      </a:xfrm>
                      <a:custGeom>
                        <a:avLst/>
                        <a:gdLst/>
                        <a:ahLst/>
                        <a:cxnLst>
                          <a:cxn ang="0">
                            <a:pos x="468" y="688"/>
                          </a:cxn>
                          <a:cxn ang="0">
                            <a:pos x="540" y="98"/>
                          </a:cxn>
                          <a:cxn ang="0">
                            <a:pos x="302" y="50"/>
                          </a:cxn>
                          <a:cxn ang="0">
                            <a:pos x="302" y="46"/>
                          </a:cxn>
                          <a:cxn ang="0">
                            <a:pos x="76" y="0"/>
                          </a:cxn>
                          <a:cxn ang="0">
                            <a:pos x="0" y="328"/>
                          </a:cxn>
                          <a:cxn ang="0">
                            <a:pos x="10" y="356"/>
                          </a:cxn>
                          <a:cxn ang="0">
                            <a:pos x="0" y="384"/>
                          </a:cxn>
                          <a:cxn ang="0">
                            <a:pos x="384" y="942"/>
                          </a:cxn>
                          <a:cxn ang="0">
                            <a:pos x="414" y="794"/>
                          </a:cxn>
                          <a:cxn ang="0">
                            <a:pos x="454" y="806"/>
                          </a:cxn>
                          <a:cxn ang="0">
                            <a:pos x="468" y="688"/>
                          </a:cxn>
                          <a:cxn ang="0">
                            <a:pos x="468" y="688"/>
                          </a:cxn>
                          <a:cxn ang="0">
                            <a:pos x="468" y="688"/>
                          </a:cxn>
                        </a:cxnLst>
                        <a:rect l="0" t="0" r="r" b="b"/>
                        <a:pathLst>
                          <a:path w="540" h="942">
                            <a:moveTo>
                              <a:pt x="468" y="688"/>
                            </a:moveTo>
                            <a:lnTo>
                              <a:pt x="540" y="98"/>
                            </a:lnTo>
                            <a:lnTo>
                              <a:pt x="302" y="50"/>
                            </a:lnTo>
                            <a:lnTo>
                              <a:pt x="302" y="46"/>
                            </a:lnTo>
                            <a:lnTo>
                              <a:pt x="76" y="0"/>
                            </a:lnTo>
                            <a:lnTo>
                              <a:pt x="0" y="328"/>
                            </a:lnTo>
                            <a:lnTo>
                              <a:pt x="10" y="356"/>
                            </a:lnTo>
                            <a:lnTo>
                              <a:pt x="0" y="384"/>
                            </a:lnTo>
                            <a:lnTo>
                              <a:pt x="384" y="942"/>
                            </a:lnTo>
                            <a:lnTo>
                              <a:pt x="414" y="794"/>
                            </a:lnTo>
                            <a:lnTo>
                              <a:pt x="454" y="806"/>
                            </a:lnTo>
                            <a:lnTo>
                              <a:pt x="468" y="688"/>
                            </a:lnTo>
                            <a:lnTo>
                              <a:pt x="468" y="688"/>
                            </a:lnTo>
                            <a:lnTo>
                              <a:pt x="468" y="688"/>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87" name="Freeform 2871"/>
                      <p:cNvSpPr>
                        <a:spLocks/>
                      </p:cNvSpPr>
                      <p:nvPr/>
                    </p:nvSpPr>
                    <p:spPr bwMode="auto">
                      <a:xfrm>
                        <a:off x="5194" y="1185"/>
                        <a:ext cx="86" cy="156"/>
                      </a:xfrm>
                      <a:custGeom>
                        <a:avLst/>
                        <a:gdLst/>
                        <a:ahLst/>
                        <a:cxnLst>
                          <a:cxn ang="0">
                            <a:pos x="0" y="18"/>
                          </a:cxn>
                          <a:cxn ang="0">
                            <a:pos x="26" y="156"/>
                          </a:cxn>
                          <a:cxn ang="0">
                            <a:pos x="48" y="108"/>
                          </a:cxn>
                          <a:cxn ang="0">
                            <a:pos x="86" y="40"/>
                          </a:cxn>
                          <a:cxn ang="0">
                            <a:pos x="50" y="0"/>
                          </a:cxn>
                          <a:cxn ang="0">
                            <a:pos x="0" y="18"/>
                          </a:cxn>
                        </a:cxnLst>
                        <a:rect l="0" t="0" r="r" b="b"/>
                        <a:pathLst>
                          <a:path w="86" h="156">
                            <a:moveTo>
                              <a:pt x="0" y="18"/>
                            </a:moveTo>
                            <a:lnTo>
                              <a:pt x="26" y="156"/>
                            </a:lnTo>
                            <a:lnTo>
                              <a:pt x="48" y="108"/>
                            </a:lnTo>
                            <a:lnTo>
                              <a:pt x="86" y="40"/>
                            </a:lnTo>
                            <a:lnTo>
                              <a:pt x="50" y="0"/>
                            </a:lnTo>
                            <a:lnTo>
                              <a:pt x="0" y="18"/>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88" name="Freeform 2872"/>
                      <p:cNvSpPr>
                        <a:spLocks/>
                      </p:cNvSpPr>
                      <p:nvPr/>
                    </p:nvSpPr>
                    <p:spPr bwMode="auto">
                      <a:xfrm>
                        <a:off x="4366" y="1699"/>
                        <a:ext cx="710" cy="474"/>
                      </a:xfrm>
                      <a:custGeom>
                        <a:avLst/>
                        <a:gdLst/>
                        <a:ahLst/>
                        <a:cxnLst>
                          <a:cxn ang="0">
                            <a:pos x="492" y="106"/>
                          </a:cxn>
                          <a:cxn ang="0">
                            <a:pos x="502" y="26"/>
                          </a:cxn>
                          <a:cxn ang="0">
                            <a:pos x="442" y="0"/>
                          </a:cxn>
                          <a:cxn ang="0">
                            <a:pos x="424" y="26"/>
                          </a:cxn>
                          <a:cxn ang="0">
                            <a:pos x="386" y="26"/>
                          </a:cxn>
                          <a:cxn ang="0">
                            <a:pos x="344" y="84"/>
                          </a:cxn>
                          <a:cxn ang="0">
                            <a:pos x="314" y="158"/>
                          </a:cxn>
                          <a:cxn ang="0">
                            <a:pos x="286" y="132"/>
                          </a:cxn>
                          <a:cxn ang="0">
                            <a:pos x="256" y="296"/>
                          </a:cxn>
                          <a:cxn ang="0">
                            <a:pos x="184" y="340"/>
                          </a:cxn>
                          <a:cxn ang="0">
                            <a:pos x="112" y="306"/>
                          </a:cxn>
                          <a:cxn ang="0">
                            <a:pos x="60" y="402"/>
                          </a:cxn>
                          <a:cxn ang="0">
                            <a:pos x="0" y="474"/>
                          </a:cxn>
                          <a:cxn ang="0">
                            <a:pos x="164" y="444"/>
                          </a:cxn>
                          <a:cxn ang="0">
                            <a:pos x="710" y="272"/>
                          </a:cxn>
                          <a:cxn ang="0">
                            <a:pos x="666" y="214"/>
                          </a:cxn>
                          <a:cxn ang="0">
                            <a:pos x="698" y="96"/>
                          </a:cxn>
                          <a:cxn ang="0">
                            <a:pos x="614" y="116"/>
                          </a:cxn>
                          <a:cxn ang="0">
                            <a:pos x="492" y="106"/>
                          </a:cxn>
                        </a:cxnLst>
                        <a:rect l="0" t="0" r="r" b="b"/>
                        <a:pathLst>
                          <a:path w="710" h="474">
                            <a:moveTo>
                              <a:pt x="492" y="106"/>
                            </a:moveTo>
                            <a:lnTo>
                              <a:pt x="502" y="26"/>
                            </a:lnTo>
                            <a:lnTo>
                              <a:pt x="442" y="0"/>
                            </a:lnTo>
                            <a:lnTo>
                              <a:pt x="424" y="26"/>
                            </a:lnTo>
                            <a:lnTo>
                              <a:pt x="386" y="26"/>
                            </a:lnTo>
                            <a:lnTo>
                              <a:pt x="344" y="84"/>
                            </a:lnTo>
                            <a:lnTo>
                              <a:pt x="314" y="158"/>
                            </a:lnTo>
                            <a:lnTo>
                              <a:pt x="286" y="132"/>
                            </a:lnTo>
                            <a:lnTo>
                              <a:pt x="256" y="296"/>
                            </a:lnTo>
                            <a:lnTo>
                              <a:pt x="184" y="340"/>
                            </a:lnTo>
                            <a:lnTo>
                              <a:pt x="112" y="306"/>
                            </a:lnTo>
                            <a:lnTo>
                              <a:pt x="60" y="402"/>
                            </a:lnTo>
                            <a:lnTo>
                              <a:pt x="0" y="474"/>
                            </a:lnTo>
                            <a:lnTo>
                              <a:pt x="164" y="444"/>
                            </a:lnTo>
                            <a:lnTo>
                              <a:pt x="710" y="272"/>
                            </a:lnTo>
                            <a:lnTo>
                              <a:pt x="666" y="214"/>
                            </a:lnTo>
                            <a:lnTo>
                              <a:pt x="698" y="96"/>
                            </a:lnTo>
                            <a:lnTo>
                              <a:pt x="614" y="116"/>
                            </a:lnTo>
                            <a:lnTo>
                              <a:pt x="492" y="106"/>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89" name="Freeform 2873"/>
                      <p:cNvSpPr>
                        <a:spLocks/>
                      </p:cNvSpPr>
                      <p:nvPr/>
                    </p:nvSpPr>
                    <p:spPr bwMode="auto">
                      <a:xfrm>
                        <a:off x="4630" y="1591"/>
                        <a:ext cx="442" cy="222"/>
                      </a:xfrm>
                      <a:custGeom>
                        <a:avLst/>
                        <a:gdLst/>
                        <a:ahLst/>
                        <a:cxnLst>
                          <a:cxn ang="0">
                            <a:pos x="316" y="0"/>
                          </a:cxn>
                          <a:cxn ang="0">
                            <a:pos x="0" y="108"/>
                          </a:cxn>
                          <a:cxn ang="0">
                            <a:pos x="24" y="150"/>
                          </a:cxn>
                          <a:cxn ang="0">
                            <a:pos x="126" y="94"/>
                          </a:cxn>
                          <a:cxn ang="0">
                            <a:pos x="178" y="106"/>
                          </a:cxn>
                          <a:cxn ang="0">
                            <a:pos x="178" y="104"/>
                          </a:cxn>
                          <a:cxn ang="0">
                            <a:pos x="180" y="106"/>
                          </a:cxn>
                          <a:cxn ang="0">
                            <a:pos x="180" y="106"/>
                          </a:cxn>
                          <a:cxn ang="0">
                            <a:pos x="242" y="132"/>
                          </a:cxn>
                          <a:cxn ang="0">
                            <a:pos x="232" y="212"/>
                          </a:cxn>
                          <a:cxn ang="0">
                            <a:pos x="354" y="222"/>
                          </a:cxn>
                          <a:cxn ang="0">
                            <a:pos x="436" y="200"/>
                          </a:cxn>
                          <a:cxn ang="0">
                            <a:pos x="442" y="174"/>
                          </a:cxn>
                          <a:cxn ang="0">
                            <a:pos x="442" y="134"/>
                          </a:cxn>
                          <a:cxn ang="0">
                            <a:pos x="374" y="162"/>
                          </a:cxn>
                          <a:cxn ang="0">
                            <a:pos x="316" y="0"/>
                          </a:cxn>
                        </a:cxnLst>
                        <a:rect l="0" t="0" r="r" b="b"/>
                        <a:pathLst>
                          <a:path w="442" h="222">
                            <a:moveTo>
                              <a:pt x="316" y="0"/>
                            </a:moveTo>
                            <a:lnTo>
                              <a:pt x="0" y="108"/>
                            </a:lnTo>
                            <a:lnTo>
                              <a:pt x="24" y="150"/>
                            </a:lnTo>
                            <a:lnTo>
                              <a:pt x="126" y="94"/>
                            </a:lnTo>
                            <a:lnTo>
                              <a:pt x="178" y="106"/>
                            </a:lnTo>
                            <a:lnTo>
                              <a:pt x="178" y="104"/>
                            </a:lnTo>
                            <a:lnTo>
                              <a:pt x="180" y="106"/>
                            </a:lnTo>
                            <a:lnTo>
                              <a:pt x="180" y="106"/>
                            </a:lnTo>
                            <a:lnTo>
                              <a:pt x="242" y="132"/>
                            </a:lnTo>
                            <a:lnTo>
                              <a:pt x="232" y="212"/>
                            </a:lnTo>
                            <a:lnTo>
                              <a:pt x="354" y="222"/>
                            </a:lnTo>
                            <a:lnTo>
                              <a:pt x="436" y="200"/>
                            </a:lnTo>
                            <a:lnTo>
                              <a:pt x="442" y="174"/>
                            </a:lnTo>
                            <a:lnTo>
                              <a:pt x="442" y="134"/>
                            </a:lnTo>
                            <a:lnTo>
                              <a:pt x="374" y="162"/>
                            </a:lnTo>
                            <a:lnTo>
                              <a:pt x="316" y="0"/>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90" name="Freeform 2874"/>
                      <p:cNvSpPr>
                        <a:spLocks/>
                      </p:cNvSpPr>
                      <p:nvPr/>
                    </p:nvSpPr>
                    <p:spPr bwMode="auto">
                      <a:xfrm>
                        <a:off x="2626" y="1951"/>
                        <a:ext cx="12" cy="356"/>
                      </a:xfrm>
                      <a:custGeom>
                        <a:avLst/>
                        <a:gdLst/>
                        <a:ahLst/>
                        <a:cxnLst>
                          <a:cxn ang="0">
                            <a:pos x="2" y="2"/>
                          </a:cxn>
                          <a:cxn ang="0">
                            <a:pos x="2" y="0"/>
                          </a:cxn>
                          <a:cxn ang="0">
                            <a:pos x="0" y="0"/>
                          </a:cxn>
                          <a:cxn ang="0">
                            <a:pos x="8" y="356"/>
                          </a:cxn>
                          <a:cxn ang="0">
                            <a:pos x="12" y="356"/>
                          </a:cxn>
                          <a:cxn ang="0">
                            <a:pos x="2" y="2"/>
                          </a:cxn>
                          <a:cxn ang="0">
                            <a:pos x="2" y="2"/>
                          </a:cxn>
                        </a:cxnLst>
                        <a:rect l="0" t="0" r="r" b="b"/>
                        <a:pathLst>
                          <a:path w="12" h="356">
                            <a:moveTo>
                              <a:pt x="2" y="2"/>
                            </a:moveTo>
                            <a:lnTo>
                              <a:pt x="2" y="0"/>
                            </a:lnTo>
                            <a:lnTo>
                              <a:pt x="0" y="0"/>
                            </a:lnTo>
                            <a:lnTo>
                              <a:pt x="8" y="356"/>
                            </a:lnTo>
                            <a:lnTo>
                              <a:pt x="12" y="356"/>
                            </a:lnTo>
                            <a:lnTo>
                              <a:pt x="2" y="2"/>
                            </a:lnTo>
                            <a:lnTo>
                              <a:pt x="2"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1" name="Freeform 2875"/>
                      <p:cNvSpPr>
                        <a:spLocks/>
                      </p:cNvSpPr>
                      <p:nvPr/>
                    </p:nvSpPr>
                    <p:spPr bwMode="auto">
                      <a:xfrm>
                        <a:off x="3202" y="1875"/>
                        <a:ext cx="2" cy="2"/>
                      </a:xfrm>
                      <a:custGeom>
                        <a:avLst/>
                        <a:gdLst/>
                        <a:ahLst/>
                        <a:cxnLst>
                          <a:cxn ang="0">
                            <a:pos x="0" y="0"/>
                          </a:cxn>
                          <a:cxn ang="0">
                            <a:pos x="0" y="2"/>
                          </a:cxn>
                          <a:cxn ang="0">
                            <a:pos x="2" y="2"/>
                          </a:cxn>
                          <a:cxn ang="0">
                            <a:pos x="0" y="0"/>
                          </a:cxn>
                          <a:cxn ang="0">
                            <a:pos x="0" y="0"/>
                          </a:cxn>
                        </a:cxnLst>
                        <a:rect l="0" t="0" r="r" b="b"/>
                        <a:pathLst>
                          <a:path w="2" h="2">
                            <a:moveTo>
                              <a:pt x="0" y="0"/>
                            </a:moveTo>
                            <a:lnTo>
                              <a:pt x="0" y="2"/>
                            </a:lnTo>
                            <a:lnTo>
                              <a:pt x="2" y="2"/>
                            </a:lnTo>
                            <a:lnTo>
                              <a:pt x="0"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2" name="Freeform 2876"/>
                      <p:cNvSpPr>
                        <a:spLocks/>
                      </p:cNvSpPr>
                      <p:nvPr/>
                    </p:nvSpPr>
                    <p:spPr bwMode="auto">
                      <a:xfrm>
                        <a:off x="3210" y="1865"/>
                        <a:ext cx="346" cy="12"/>
                      </a:xfrm>
                      <a:custGeom>
                        <a:avLst/>
                        <a:gdLst/>
                        <a:ahLst/>
                        <a:cxnLst>
                          <a:cxn ang="0">
                            <a:pos x="346" y="0"/>
                          </a:cxn>
                          <a:cxn ang="0">
                            <a:pos x="0" y="10"/>
                          </a:cxn>
                          <a:cxn ang="0">
                            <a:pos x="0" y="12"/>
                          </a:cxn>
                          <a:cxn ang="0">
                            <a:pos x="346" y="4"/>
                          </a:cxn>
                          <a:cxn ang="0">
                            <a:pos x="346" y="0"/>
                          </a:cxn>
                        </a:cxnLst>
                        <a:rect l="0" t="0" r="r" b="b"/>
                        <a:pathLst>
                          <a:path w="346" h="12">
                            <a:moveTo>
                              <a:pt x="346" y="0"/>
                            </a:moveTo>
                            <a:lnTo>
                              <a:pt x="0" y="10"/>
                            </a:lnTo>
                            <a:lnTo>
                              <a:pt x="0" y="12"/>
                            </a:lnTo>
                            <a:lnTo>
                              <a:pt x="346" y="4"/>
                            </a:lnTo>
                            <a:lnTo>
                              <a:pt x="34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3" name="Rectangle 2877"/>
                      <p:cNvSpPr>
                        <a:spLocks noChangeArrowheads="1"/>
                      </p:cNvSpPr>
                      <p:nvPr/>
                    </p:nvSpPr>
                    <p:spPr bwMode="auto">
                      <a:xfrm>
                        <a:off x="4022" y="3015"/>
                        <a:ext cx="2" cy="4"/>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94" name="Freeform 2878"/>
                      <p:cNvSpPr>
                        <a:spLocks/>
                      </p:cNvSpPr>
                      <p:nvPr/>
                    </p:nvSpPr>
                    <p:spPr bwMode="auto">
                      <a:xfrm>
                        <a:off x="3970" y="2457"/>
                        <a:ext cx="54" cy="558"/>
                      </a:xfrm>
                      <a:custGeom>
                        <a:avLst/>
                        <a:gdLst/>
                        <a:ahLst/>
                        <a:cxnLst>
                          <a:cxn ang="0">
                            <a:pos x="0" y="0"/>
                          </a:cxn>
                          <a:cxn ang="0">
                            <a:pos x="52" y="558"/>
                          </a:cxn>
                          <a:cxn ang="0">
                            <a:pos x="54" y="558"/>
                          </a:cxn>
                          <a:cxn ang="0">
                            <a:pos x="2" y="0"/>
                          </a:cxn>
                          <a:cxn ang="0">
                            <a:pos x="0" y="0"/>
                          </a:cxn>
                        </a:cxnLst>
                        <a:rect l="0" t="0" r="r" b="b"/>
                        <a:pathLst>
                          <a:path w="54" h="558">
                            <a:moveTo>
                              <a:pt x="0" y="0"/>
                            </a:moveTo>
                            <a:lnTo>
                              <a:pt x="52" y="558"/>
                            </a:lnTo>
                            <a:lnTo>
                              <a:pt x="54" y="558"/>
                            </a:lnTo>
                            <a:lnTo>
                              <a:pt x="2"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5" name="Freeform 2879"/>
                      <p:cNvSpPr>
                        <a:spLocks/>
                      </p:cNvSpPr>
                      <p:nvPr/>
                    </p:nvSpPr>
                    <p:spPr bwMode="auto">
                      <a:xfrm>
                        <a:off x="4320" y="2145"/>
                        <a:ext cx="212" cy="248"/>
                      </a:xfrm>
                      <a:custGeom>
                        <a:avLst/>
                        <a:gdLst/>
                        <a:ahLst/>
                        <a:cxnLst>
                          <a:cxn ang="0">
                            <a:pos x="26" y="156"/>
                          </a:cxn>
                          <a:cxn ang="0">
                            <a:pos x="0" y="248"/>
                          </a:cxn>
                          <a:cxn ang="0">
                            <a:pos x="4" y="248"/>
                          </a:cxn>
                          <a:cxn ang="0">
                            <a:pos x="30" y="156"/>
                          </a:cxn>
                          <a:cxn ang="0">
                            <a:pos x="200" y="32"/>
                          </a:cxn>
                          <a:cxn ang="0">
                            <a:pos x="212" y="0"/>
                          </a:cxn>
                          <a:cxn ang="0">
                            <a:pos x="208" y="2"/>
                          </a:cxn>
                          <a:cxn ang="0">
                            <a:pos x="198" y="32"/>
                          </a:cxn>
                          <a:cxn ang="0">
                            <a:pos x="26" y="156"/>
                          </a:cxn>
                        </a:cxnLst>
                        <a:rect l="0" t="0" r="r" b="b"/>
                        <a:pathLst>
                          <a:path w="212" h="248">
                            <a:moveTo>
                              <a:pt x="26" y="156"/>
                            </a:moveTo>
                            <a:lnTo>
                              <a:pt x="0" y="248"/>
                            </a:lnTo>
                            <a:lnTo>
                              <a:pt x="4" y="248"/>
                            </a:lnTo>
                            <a:lnTo>
                              <a:pt x="30" y="156"/>
                            </a:lnTo>
                            <a:lnTo>
                              <a:pt x="200" y="32"/>
                            </a:lnTo>
                            <a:lnTo>
                              <a:pt x="212" y="0"/>
                            </a:lnTo>
                            <a:lnTo>
                              <a:pt x="208" y="2"/>
                            </a:lnTo>
                            <a:lnTo>
                              <a:pt x="198" y="32"/>
                            </a:lnTo>
                            <a:lnTo>
                              <a:pt x="26" y="15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6" name="Freeform 2880"/>
                      <p:cNvSpPr>
                        <a:spLocks/>
                      </p:cNvSpPr>
                      <p:nvPr/>
                    </p:nvSpPr>
                    <p:spPr bwMode="auto">
                      <a:xfrm>
                        <a:off x="4476" y="2001"/>
                        <a:ext cx="2" cy="2"/>
                      </a:xfrm>
                      <a:custGeom>
                        <a:avLst/>
                        <a:gdLst/>
                        <a:ahLst/>
                        <a:cxnLst>
                          <a:cxn ang="0">
                            <a:pos x="0" y="0"/>
                          </a:cxn>
                          <a:cxn ang="0">
                            <a:pos x="0" y="0"/>
                          </a:cxn>
                          <a:cxn ang="0">
                            <a:pos x="2" y="2"/>
                          </a:cxn>
                          <a:cxn ang="0">
                            <a:pos x="0" y="0"/>
                          </a:cxn>
                        </a:cxnLst>
                        <a:rect l="0" t="0" r="r" b="b"/>
                        <a:pathLst>
                          <a:path w="2" h="2">
                            <a:moveTo>
                              <a:pt x="0" y="0"/>
                            </a:moveTo>
                            <a:lnTo>
                              <a:pt x="0" y="0"/>
                            </a:lnTo>
                            <a:lnTo>
                              <a:pt x="2" y="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7" name="Freeform 2881"/>
                      <p:cNvSpPr>
                        <a:spLocks/>
                      </p:cNvSpPr>
                      <p:nvPr/>
                    </p:nvSpPr>
                    <p:spPr bwMode="auto">
                      <a:xfrm>
                        <a:off x="4360" y="2003"/>
                        <a:ext cx="118" cy="172"/>
                      </a:xfrm>
                      <a:custGeom>
                        <a:avLst/>
                        <a:gdLst/>
                        <a:ahLst/>
                        <a:cxnLst>
                          <a:cxn ang="0">
                            <a:pos x="64" y="98"/>
                          </a:cxn>
                          <a:cxn ang="0">
                            <a:pos x="0" y="172"/>
                          </a:cxn>
                          <a:cxn ang="0">
                            <a:pos x="6" y="170"/>
                          </a:cxn>
                          <a:cxn ang="0">
                            <a:pos x="6" y="170"/>
                          </a:cxn>
                          <a:cxn ang="0">
                            <a:pos x="66" y="98"/>
                          </a:cxn>
                          <a:cxn ang="0">
                            <a:pos x="118" y="2"/>
                          </a:cxn>
                          <a:cxn ang="0">
                            <a:pos x="114" y="0"/>
                          </a:cxn>
                          <a:cxn ang="0">
                            <a:pos x="64" y="98"/>
                          </a:cxn>
                        </a:cxnLst>
                        <a:rect l="0" t="0" r="r" b="b"/>
                        <a:pathLst>
                          <a:path w="118" h="172">
                            <a:moveTo>
                              <a:pt x="64" y="98"/>
                            </a:moveTo>
                            <a:lnTo>
                              <a:pt x="0" y="172"/>
                            </a:lnTo>
                            <a:lnTo>
                              <a:pt x="6" y="170"/>
                            </a:lnTo>
                            <a:lnTo>
                              <a:pt x="6" y="170"/>
                            </a:lnTo>
                            <a:lnTo>
                              <a:pt x="66" y="98"/>
                            </a:lnTo>
                            <a:lnTo>
                              <a:pt x="118" y="2"/>
                            </a:lnTo>
                            <a:lnTo>
                              <a:pt x="114" y="0"/>
                            </a:lnTo>
                            <a:lnTo>
                              <a:pt x="64" y="9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8" name="Freeform 2882"/>
                      <p:cNvSpPr>
                        <a:spLocks/>
                      </p:cNvSpPr>
                      <p:nvPr/>
                    </p:nvSpPr>
                    <p:spPr bwMode="auto">
                      <a:xfrm>
                        <a:off x="5072" y="1655"/>
                        <a:ext cx="2" cy="6"/>
                      </a:xfrm>
                      <a:custGeom>
                        <a:avLst/>
                        <a:gdLst/>
                        <a:ahLst/>
                        <a:cxnLst>
                          <a:cxn ang="0">
                            <a:pos x="2" y="6"/>
                          </a:cxn>
                          <a:cxn ang="0">
                            <a:pos x="2" y="2"/>
                          </a:cxn>
                          <a:cxn ang="0">
                            <a:pos x="0" y="0"/>
                          </a:cxn>
                          <a:cxn ang="0">
                            <a:pos x="0" y="6"/>
                          </a:cxn>
                          <a:cxn ang="0">
                            <a:pos x="2" y="6"/>
                          </a:cxn>
                        </a:cxnLst>
                        <a:rect l="0" t="0" r="r" b="b"/>
                        <a:pathLst>
                          <a:path w="2" h="6">
                            <a:moveTo>
                              <a:pt x="2" y="6"/>
                            </a:moveTo>
                            <a:lnTo>
                              <a:pt x="2" y="2"/>
                            </a:lnTo>
                            <a:lnTo>
                              <a:pt x="0" y="0"/>
                            </a:lnTo>
                            <a:lnTo>
                              <a:pt x="0" y="6"/>
                            </a:lnTo>
                            <a:lnTo>
                              <a:pt x="2"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99" name="Freeform 2883"/>
                      <p:cNvSpPr>
                        <a:spLocks/>
                      </p:cNvSpPr>
                      <p:nvPr/>
                    </p:nvSpPr>
                    <p:spPr bwMode="auto">
                      <a:xfrm>
                        <a:off x="4976" y="1581"/>
                        <a:ext cx="96" cy="80"/>
                      </a:xfrm>
                      <a:custGeom>
                        <a:avLst/>
                        <a:gdLst/>
                        <a:ahLst/>
                        <a:cxnLst>
                          <a:cxn ang="0">
                            <a:pos x="0" y="2"/>
                          </a:cxn>
                          <a:cxn ang="0">
                            <a:pos x="96" y="80"/>
                          </a:cxn>
                          <a:cxn ang="0">
                            <a:pos x="96" y="74"/>
                          </a:cxn>
                          <a:cxn ang="0">
                            <a:pos x="2" y="0"/>
                          </a:cxn>
                          <a:cxn ang="0">
                            <a:pos x="0" y="2"/>
                          </a:cxn>
                        </a:cxnLst>
                        <a:rect l="0" t="0" r="r" b="b"/>
                        <a:pathLst>
                          <a:path w="96" h="80">
                            <a:moveTo>
                              <a:pt x="0" y="2"/>
                            </a:moveTo>
                            <a:lnTo>
                              <a:pt x="96" y="80"/>
                            </a:lnTo>
                            <a:lnTo>
                              <a:pt x="96" y="74"/>
                            </a:lnTo>
                            <a:lnTo>
                              <a:pt x="2"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0" name="Freeform 2884"/>
                      <p:cNvSpPr>
                        <a:spLocks/>
                      </p:cNvSpPr>
                      <p:nvPr/>
                    </p:nvSpPr>
                    <p:spPr bwMode="auto">
                      <a:xfrm>
                        <a:off x="5104" y="1425"/>
                        <a:ext cx="2" cy="2"/>
                      </a:xfrm>
                      <a:custGeom>
                        <a:avLst/>
                        <a:gdLst/>
                        <a:ahLst/>
                        <a:cxnLst>
                          <a:cxn ang="0">
                            <a:pos x="0" y="2"/>
                          </a:cxn>
                          <a:cxn ang="0">
                            <a:pos x="2" y="2"/>
                          </a:cxn>
                          <a:cxn ang="0">
                            <a:pos x="2" y="0"/>
                          </a:cxn>
                          <a:cxn ang="0">
                            <a:pos x="0" y="2"/>
                          </a:cxn>
                          <a:cxn ang="0">
                            <a:pos x="0" y="2"/>
                          </a:cxn>
                        </a:cxnLst>
                        <a:rect l="0" t="0" r="r" b="b"/>
                        <a:pathLst>
                          <a:path w="2" h="2">
                            <a:moveTo>
                              <a:pt x="0" y="2"/>
                            </a:moveTo>
                            <a:lnTo>
                              <a:pt x="2" y="2"/>
                            </a:lnTo>
                            <a:lnTo>
                              <a:pt x="2" y="0"/>
                            </a:lnTo>
                            <a:lnTo>
                              <a:pt x="0" y="2"/>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1" name="Freeform 2885"/>
                      <p:cNvSpPr>
                        <a:spLocks/>
                      </p:cNvSpPr>
                      <p:nvPr/>
                    </p:nvSpPr>
                    <p:spPr bwMode="auto">
                      <a:xfrm>
                        <a:off x="5216" y="1347"/>
                        <a:ext cx="6" cy="2"/>
                      </a:xfrm>
                      <a:custGeom>
                        <a:avLst/>
                        <a:gdLst/>
                        <a:ahLst/>
                        <a:cxnLst>
                          <a:cxn ang="0">
                            <a:pos x="4" y="0"/>
                          </a:cxn>
                          <a:cxn ang="0">
                            <a:pos x="2" y="0"/>
                          </a:cxn>
                          <a:cxn ang="0">
                            <a:pos x="0" y="2"/>
                          </a:cxn>
                          <a:cxn ang="0">
                            <a:pos x="6" y="2"/>
                          </a:cxn>
                          <a:cxn ang="0">
                            <a:pos x="6" y="0"/>
                          </a:cxn>
                          <a:cxn ang="0">
                            <a:pos x="4" y="0"/>
                          </a:cxn>
                          <a:cxn ang="0">
                            <a:pos x="4" y="0"/>
                          </a:cxn>
                          <a:cxn ang="0">
                            <a:pos x="4" y="0"/>
                          </a:cxn>
                        </a:cxnLst>
                        <a:rect l="0" t="0" r="r" b="b"/>
                        <a:pathLst>
                          <a:path w="6" h="2">
                            <a:moveTo>
                              <a:pt x="4" y="0"/>
                            </a:moveTo>
                            <a:lnTo>
                              <a:pt x="2" y="0"/>
                            </a:lnTo>
                            <a:lnTo>
                              <a:pt x="0" y="2"/>
                            </a:lnTo>
                            <a:lnTo>
                              <a:pt x="6" y="2"/>
                            </a:lnTo>
                            <a:lnTo>
                              <a:pt x="6" y="0"/>
                            </a:lnTo>
                            <a:lnTo>
                              <a:pt x="4" y="0"/>
                            </a:lnTo>
                            <a:lnTo>
                              <a:pt x="4" y="0"/>
                            </a:lnTo>
                            <a:lnTo>
                              <a:pt x="4"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2" name="Freeform 2886"/>
                      <p:cNvSpPr>
                        <a:spLocks/>
                      </p:cNvSpPr>
                      <p:nvPr/>
                    </p:nvSpPr>
                    <p:spPr bwMode="auto">
                      <a:xfrm>
                        <a:off x="4982" y="1347"/>
                        <a:ext cx="236" cy="80"/>
                      </a:xfrm>
                      <a:custGeom>
                        <a:avLst/>
                        <a:gdLst/>
                        <a:ahLst/>
                        <a:cxnLst>
                          <a:cxn ang="0">
                            <a:pos x="222" y="0"/>
                          </a:cxn>
                          <a:cxn ang="0">
                            <a:pos x="136" y="40"/>
                          </a:cxn>
                          <a:cxn ang="0">
                            <a:pos x="124" y="70"/>
                          </a:cxn>
                          <a:cxn ang="0">
                            <a:pos x="0" y="42"/>
                          </a:cxn>
                          <a:cxn ang="0">
                            <a:pos x="0" y="44"/>
                          </a:cxn>
                          <a:cxn ang="0">
                            <a:pos x="124" y="72"/>
                          </a:cxn>
                          <a:cxn ang="0">
                            <a:pos x="122" y="80"/>
                          </a:cxn>
                          <a:cxn ang="0">
                            <a:pos x="124" y="78"/>
                          </a:cxn>
                          <a:cxn ang="0">
                            <a:pos x="138" y="40"/>
                          </a:cxn>
                          <a:cxn ang="0">
                            <a:pos x="222" y="2"/>
                          </a:cxn>
                          <a:cxn ang="0">
                            <a:pos x="234" y="2"/>
                          </a:cxn>
                          <a:cxn ang="0">
                            <a:pos x="236" y="0"/>
                          </a:cxn>
                          <a:cxn ang="0">
                            <a:pos x="222" y="0"/>
                          </a:cxn>
                        </a:cxnLst>
                        <a:rect l="0" t="0" r="r" b="b"/>
                        <a:pathLst>
                          <a:path w="236" h="80">
                            <a:moveTo>
                              <a:pt x="222" y="0"/>
                            </a:moveTo>
                            <a:lnTo>
                              <a:pt x="136" y="40"/>
                            </a:lnTo>
                            <a:lnTo>
                              <a:pt x="124" y="70"/>
                            </a:lnTo>
                            <a:lnTo>
                              <a:pt x="0" y="42"/>
                            </a:lnTo>
                            <a:lnTo>
                              <a:pt x="0" y="44"/>
                            </a:lnTo>
                            <a:lnTo>
                              <a:pt x="124" y="72"/>
                            </a:lnTo>
                            <a:lnTo>
                              <a:pt x="122" y="80"/>
                            </a:lnTo>
                            <a:lnTo>
                              <a:pt x="124" y="78"/>
                            </a:lnTo>
                            <a:lnTo>
                              <a:pt x="138" y="40"/>
                            </a:lnTo>
                            <a:lnTo>
                              <a:pt x="222" y="2"/>
                            </a:lnTo>
                            <a:lnTo>
                              <a:pt x="234" y="2"/>
                            </a:lnTo>
                            <a:lnTo>
                              <a:pt x="236" y="0"/>
                            </a:lnTo>
                            <a:lnTo>
                              <a:pt x="22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3" name="Rectangle 2887"/>
                      <p:cNvSpPr>
                        <a:spLocks noChangeArrowheads="1"/>
                      </p:cNvSpPr>
                      <p:nvPr/>
                    </p:nvSpPr>
                    <p:spPr bwMode="auto">
                      <a:xfrm>
                        <a:off x="882" y="917"/>
                        <a:ext cx="6" cy="6"/>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04" name="Freeform 2888"/>
                      <p:cNvSpPr>
                        <a:spLocks/>
                      </p:cNvSpPr>
                      <p:nvPr/>
                    </p:nvSpPr>
                    <p:spPr bwMode="auto">
                      <a:xfrm>
                        <a:off x="888" y="711"/>
                        <a:ext cx="1590" cy="974"/>
                      </a:xfrm>
                      <a:custGeom>
                        <a:avLst/>
                        <a:gdLst/>
                        <a:ahLst/>
                        <a:cxnLst>
                          <a:cxn ang="0">
                            <a:pos x="1590" y="166"/>
                          </a:cxn>
                          <a:cxn ang="0">
                            <a:pos x="1580" y="616"/>
                          </a:cxn>
                          <a:cxn ang="0">
                            <a:pos x="978" y="650"/>
                          </a:cxn>
                          <a:cxn ang="0">
                            <a:pos x="908" y="626"/>
                          </a:cxn>
                          <a:cxn ang="0">
                            <a:pos x="754" y="534"/>
                          </a:cxn>
                          <a:cxn ang="0">
                            <a:pos x="714" y="476"/>
                          </a:cxn>
                          <a:cxn ang="0">
                            <a:pos x="710" y="326"/>
                          </a:cxn>
                          <a:cxn ang="0">
                            <a:pos x="668" y="24"/>
                          </a:cxn>
                          <a:cxn ang="0">
                            <a:pos x="636" y="166"/>
                          </a:cxn>
                          <a:cxn ang="0">
                            <a:pos x="736" y="346"/>
                          </a:cxn>
                          <a:cxn ang="0">
                            <a:pos x="756" y="472"/>
                          </a:cxn>
                          <a:cxn ang="0">
                            <a:pos x="818" y="642"/>
                          </a:cxn>
                          <a:cxn ang="0">
                            <a:pos x="948" y="618"/>
                          </a:cxn>
                          <a:cxn ang="0">
                            <a:pos x="948" y="964"/>
                          </a:cxn>
                          <a:cxn ang="0">
                            <a:pos x="502" y="598"/>
                          </a:cxn>
                          <a:cxn ang="0">
                            <a:pos x="560" y="436"/>
                          </a:cxn>
                          <a:cxn ang="0">
                            <a:pos x="592" y="2"/>
                          </a:cxn>
                          <a:cxn ang="0">
                            <a:pos x="524" y="342"/>
                          </a:cxn>
                          <a:cxn ang="0">
                            <a:pos x="400" y="334"/>
                          </a:cxn>
                          <a:cxn ang="0">
                            <a:pos x="110" y="318"/>
                          </a:cxn>
                          <a:cxn ang="0">
                            <a:pos x="0" y="206"/>
                          </a:cxn>
                          <a:cxn ang="0">
                            <a:pos x="96" y="238"/>
                          </a:cxn>
                          <a:cxn ang="0">
                            <a:pos x="284" y="356"/>
                          </a:cxn>
                          <a:cxn ang="0">
                            <a:pos x="534" y="378"/>
                          </a:cxn>
                          <a:cxn ang="0">
                            <a:pos x="486" y="572"/>
                          </a:cxn>
                          <a:cxn ang="0">
                            <a:pos x="444" y="862"/>
                          </a:cxn>
                          <a:cxn ang="0">
                            <a:pos x="446" y="866"/>
                          </a:cxn>
                          <a:cxn ang="0">
                            <a:pos x="442" y="870"/>
                          </a:cxn>
                          <a:cxn ang="0">
                            <a:pos x="682" y="914"/>
                          </a:cxn>
                          <a:cxn ang="0">
                            <a:pos x="688" y="920"/>
                          </a:cxn>
                          <a:cxn ang="0">
                            <a:pos x="948" y="970"/>
                          </a:cxn>
                          <a:cxn ang="0">
                            <a:pos x="992" y="584"/>
                          </a:cxn>
                          <a:cxn ang="0">
                            <a:pos x="1584" y="624"/>
                          </a:cxn>
                          <a:cxn ang="0">
                            <a:pos x="1586" y="524"/>
                          </a:cxn>
                          <a:cxn ang="0">
                            <a:pos x="1584" y="520"/>
                          </a:cxn>
                        </a:cxnLst>
                        <a:rect l="0" t="0" r="r" b="b"/>
                        <a:pathLst>
                          <a:path w="1590" h="974">
                            <a:moveTo>
                              <a:pt x="1586" y="520"/>
                            </a:moveTo>
                            <a:lnTo>
                              <a:pt x="1590" y="166"/>
                            </a:lnTo>
                            <a:lnTo>
                              <a:pt x="1584" y="164"/>
                            </a:lnTo>
                            <a:lnTo>
                              <a:pt x="1580" y="616"/>
                            </a:lnTo>
                            <a:lnTo>
                              <a:pt x="986" y="578"/>
                            </a:lnTo>
                            <a:lnTo>
                              <a:pt x="978" y="650"/>
                            </a:lnTo>
                            <a:lnTo>
                              <a:pt x="952" y="614"/>
                            </a:lnTo>
                            <a:lnTo>
                              <a:pt x="908" y="626"/>
                            </a:lnTo>
                            <a:lnTo>
                              <a:pt x="824" y="638"/>
                            </a:lnTo>
                            <a:lnTo>
                              <a:pt x="754" y="534"/>
                            </a:lnTo>
                            <a:lnTo>
                              <a:pt x="762" y="464"/>
                            </a:lnTo>
                            <a:lnTo>
                              <a:pt x="714" y="476"/>
                            </a:lnTo>
                            <a:lnTo>
                              <a:pt x="744" y="346"/>
                            </a:lnTo>
                            <a:lnTo>
                              <a:pt x="710" y="326"/>
                            </a:lnTo>
                            <a:lnTo>
                              <a:pt x="644" y="168"/>
                            </a:lnTo>
                            <a:lnTo>
                              <a:pt x="668" y="24"/>
                            </a:lnTo>
                            <a:lnTo>
                              <a:pt x="662" y="22"/>
                            </a:lnTo>
                            <a:lnTo>
                              <a:pt x="636" y="166"/>
                            </a:lnTo>
                            <a:lnTo>
                              <a:pt x="708" y="332"/>
                            </a:lnTo>
                            <a:lnTo>
                              <a:pt x="736" y="346"/>
                            </a:lnTo>
                            <a:lnTo>
                              <a:pt x="706" y="484"/>
                            </a:lnTo>
                            <a:lnTo>
                              <a:pt x="756" y="472"/>
                            </a:lnTo>
                            <a:lnTo>
                              <a:pt x="746" y="534"/>
                            </a:lnTo>
                            <a:lnTo>
                              <a:pt x="818" y="642"/>
                            </a:lnTo>
                            <a:lnTo>
                              <a:pt x="910" y="632"/>
                            </a:lnTo>
                            <a:lnTo>
                              <a:pt x="948" y="618"/>
                            </a:lnTo>
                            <a:lnTo>
                              <a:pt x="976" y="656"/>
                            </a:lnTo>
                            <a:lnTo>
                              <a:pt x="948" y="964"/>
                            </a:lnTo>
                            <a:lnTo>
                              <a:pt x="452" y="864"/>
                            </a:lnTo>
                            <a:lnTo>
                              <a:pt x="502" y="598"/>
                            </a:lnTo>
                            <a:lnTo>
                              <a:pt x="492" y="572"/>
                            </a:lnTo>
                            <a:lnTo>
                              <a:pt x="560" y="436"/>
                            </a:lnTo>
                            <a:lnTo>
                              <a:pt x="530" y="342"/>
                            </a:lnTo>
                            <a:lnTo>
                              <a:pt x="592" y="2"/>
                            </a:lnTo>
                            <a:lnTo>
                              <a:pt x="584" y="0"/>
                            </a:lnTo>
                            <a:lnTo>
                              <a:pt x="524" y="342"/>
                            </a:lnTo>
                            <a:lnTo>
                              <a:pt x="532" y="368"/>
                            </a:lnTo>
                            <a:lnTo>
                              <a:pt x="400" y="334"/>
                            </a:lnTo>
                            <a:lnTo>
                              <a:pt x="284" y="350"/>
                            </a:lnTo>
                            <a:lnTo>
                              <a:pt x="110" y="318"/>
                            </a:lnTo>
                            <a:lnTo>
                              <a:pt x="100" y="234"/>
                            </a:lnTo>
                            <a:lnTo>
                              <a:pt x="0" y="206"/>
                            </a:lnTo>
                            <a:lnTo>
                              <a:pt x="0" y="212"/>
                            </a:lnTo>
                            <a:lnTo>
                              <a:pt x="96" y="238"/>
                            </a:lnTo>
                            <a:lnTo>
                              <a:pt x="104" y="324"/>
                            </a:lnTo>
                            <a:lnTo>
                              <a:pt x="284" y="356"/>
                            </a:lnTo>
                            <a:lnTo>
                              <a:pt x="400" y="340"/>
                            </a:lnTo>
                            <a:lnTo>
                              <a:pt x="534" y="378"/>
                            </a:lnTo>
                            <a:lnTo>
                              <a:pt x="554" y="436"/>
                            </a:lnTo>
                            <a:lnTo>
                              <a:pt x="486" y="572"/>
                            </a:lnTo>
                            <a:lnTo>
                              <a:pt x="494" y="598"/>
                            </a:lnTo>
                            <a:lnTo>
                              <a:pt x="444" y="862"/>
                            </a:lnTo>
                            <a:lnTo>
                              <a:pt x="446" y="862"/>
                            </a:lnTo>
                            <a:lnTo>
                              <a:pt x="446" y="866"/>
                            </a:lnTo>
                            <a:lnTo>
                              <a:pt x="442" y="866"/>
                            </a:lnTo>
                            <a:lnTo>
                              <a:pt x="442" y="870"/>
                            </a:lnTo>
                            <a:lnTo>
                              <a:pt x="680" y="918"/>
                            </a:lnTo>
                            <a:lnTo>
                              <a:pt x="682" y="914"/>
                            </a:lnTo>
                            <a:lnTo>
                              <a:pt x="688" y="914"/>
                            </a:lnTo>
                            <a:lnTo>
                              <a:pt x="688" y="920"/>
                            </a:lnTo>
                            <a:lnTo>
                              <a:pt x="948" y="974"/>
                            </a:lnTo>
                            <a:lnTo>
                              <a:pt x="948" y="970"/>
                            </a:lnTo>
                            <a:lnTo>
                              <a:pt x="954" y="972"/>
                            </a:lnTo>
                            <a:lnTo>
                              <a:pt x="992" y="584"/>
                            </a:lnTo>
                            <a:lnTo>
                              <a:pt x="1584" y="624"/>
                            </a:lnTo>
                            <a:lnTo>
                              <a:pt x="1584" y="624"/>
                            </a:lnTo>
                            <a:lnTo>
                              <a:pt x="1586" y="624"/>
                            </a:lnTo>
                            <a:lnTo>
                              <a:pt x="1586" y="524"/>
                            </a:lnTo>
                            <a:lnTo>
                              <a:pt x="1584" y="524"/>
                            </a:lnTo>
                            <a:lnTo>
                              <a:pt x="1584" y="520"/>
                            </a:lnTo>
                            <a:lnTo>
                              <a:pt x="1586" y="52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5" name="Rectangle 2889"/>
                      <p:cNvSpPr>
                        <a:spLocks noChangeArrowheads="1"/>
                      </p:cNvSpPr>
                      <p:nvPr/>
                    </p:nvSpPr>
                    <p:spPr bwMode="auto">
                      <a:xfrm>
                        <a:off x="766" y="1433"/>
                        <a:ext cx="1"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06" name="Freeform 2890"/>
                      <p:cNvSpPr>
                        <a:spLocks/>
                      </p:cNvSpPr>
                      <p:nvPr/>
                    </p:nvSpPr>
                    <p:spPr bwMode="auto">
                      <a:xfrm>
                        <a:off x="1370" y="2791"/>
                        <a:ext cx="2" cy="1"/>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7" name="Freeform 2891"/>
                      <p:cNvSpPr>
                        <a:spLocks/>
                      </p:cNvSpPr>
                      <p:nvPr/>
                    </p:nvSpPr>
                    <p:spPr bwMode="auto">
                      <a:xfrm>
                        <a:off x="1496" y="1629"/>
                        <a:ext cx="80" cy="590"/>
                      </a:xfrm>
                      <a:custGeom>
                        <a:avLst/>
                        <a:gdLst/>
                        <a:ahLst/>
                        <a:cxnLst>
                          <a:cxn ang="0">
                            <a:pos x="72" y="0"/>
                          </a:cxn>
                          <a:cxn ang="0">
                            <a:pos x="0" y="590"/>
                          </a:cxn>
                          <a:cxn ang="0">
                            <a:pos x="4" y="590"/>
                          </a:cxn>
                          <a:cxn ang="0">
                            <a:pos x="80" y="2"/>
                          </a:cxn>
                          <a:cxn ang="0">
                            <a:pos x="72" y="0"/>
                          </a:cxn>
                        </a:cxnLst>
                        <a:rect l="0" t="0" r="r" b="b"/>
                        <a:pathLst>
                          <a:path w="80" h="590">
                            <a:moveTo>
                              <a:pt x="72" y="0"/>
                            </a:moveTo>
                            <a:lnTo>
                              <a:pt x="0" y="590"/>
                            </a:lnTo>
                            <a:lnTo>
                              <a:pt x="4" y="590"/>
                            </a:lnTo>
                            <a:lnTo>
                              <a:pt x="80" y="2"/>
                            </a:lnTo>
                            <a:lnTo>
                              <a:pt x="7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8" name="Freeform 2892"/>
                      <p:cNvSpPr>
                        <a:spLocks/>
                      </p:cNvSpPr>
                      <p:nvPr/>
                    </p:nvSpPr>
                    <p:spPr bwMode="auto">
                      <a:xfrm>
                        <a:off x="766" y="1433"/>
                        <a:ext cx="734" cy="1358"/>
                      </a:xfrm>
                      <a:custGeom>
                        <a:avLst/>
                        <a:gdLst/>
                        <a:ahLst/>
                        <a:cxnLst>
                          <a:cxn ang="0">
                            <a:pos x="618" y="1262"/>
                          </a:cxn>
                          <a:cxn ang="0">
                            <a:pos x="668" y="1154"/>
                          </a:cxn>
                          <a:cxn ang="0">
                            <a:pos x="680" y="1140"/>
                          </a:cxn>
                          <a:cxn ang="0">
                            <a:pos x="648" y="1044"/>
                          </a:cxn>
                          <a:cxn ang="0">
                            <a:pos x="678" y="896"/>
                          </a:cxn>
                          <a:cxn ang="0">
                            <a:pos x="718" y="910"/>
                          </a:cxn>
                          <a:cxn ang="0">
                            <a:pos x="734" y="790"/>
                          </a:cxn>
                          <a:cxn ang="0">
                            <a:pos x="730" y="788"/>
                          </a:cxn>
                          <a:cxn ang="0">
                            <a:pos x="730" y="786"/>
                          </a:cxn>
                          <a:cxn ang="0">
                            <a:pos x="716" y="904"/>
                          </a:cxn>
                          <a:cxn ang="0">
                            <a:pos x="676" y="892"/>
                          </a:cxn>
                          <a:cxn ang="0">
                            <a:pos x="646" y="1040"/>
                          </a:cxn>
                          <a:cxn ang="0">
                            <a:pos x="262" y="482"/>
                          </a:cxn>
                          <a:cxn ang="0">
                            <a:pos x="272" y="454"/>
                          </a:cxn>
                          <a:cxn ang="0">
                            <a:pos x="262" y="426"/>
                          </a:cxn>
                          <a:cxn ang="0">
                            <a:pos x="338" y="98"/>
                          </a:cxn>
                          <a:cxn ang="0">
                            <a:pos x="564" y="144"/>
                          </a:cxn>
                          <a:cxn ang="0">
                            <a:pos x="566" y="140"/>
                          </a:cxn>
                          <a:cxn ang="0">
                            <a:pos x="338" y="92"/>
                          </a:cxn>
                          <a:cxn ang="0">
                            <a:pos x="0" y="0"/>
                          </a:cxn>
                          <a:cxn ang="0">
                            <a:pos x="0" y="0"/>
                          </a:cxn>
                          <a:cxn ang="0">
                            <a:pos x="2" y="8"/>
                          </a:cxn>
                          <a:cxn ang="0">
                            <a:pos x="334" y="98"/>
                          </a:cxn>
                          <a:cxn ang="0">
                            <a:pos x="256" y="426"/>
                          </a:cxn>
                          <a:cxn ang="0">
                            <a:pos x="266" y="454"/>
                          </a:cxn>
                          <a:cxn ang="0">
                            <a:pos x="256" y="482"/>
                          </a:cxn>
                          <a:cxn ang="0">
                            <a:pos x="644" y="1044"/>
                          </a:cxn>
                          <a:cxn ang="0">
                            <a:pos x="674" y="1140"/>
                          </a:cxn>
                          <a:cxn ang="0">
                            <a:pos x="664" y="1150"/>
                          </a:cxn>
                          <a:cxn ang="0">
                            <a:pos x="614" y="1260"/>
                          </a:cxn>
                          <a:cxn ang="0">
                            <a:pos x="626" y="1314"/>
                          </a:cxn>
                          <a:cxn ang="0">
                            <a:pos x="600" y="1354"/>
                          </a:cxn>
                          <a:cxn ang="0">
                            <a:pos x="604" y="1358"/>
                          </a:cxn>
                          <a:cxn ang="0">
                            <a:pos x="606" y="1358"/>
                          </a:cxn>
                          <a:cxn ang="0">
                            <a:pos x="630" y="1316"/>
                          </a:cxn>
                          <a:cxn ang="0">
                            <a:pos x="618" y="1262"/>
                          </a:cxn>
                        </a:cxnLst>
                        <a:rect l="0" t="0" r="r" b="b"/>
                        <a:pathLst>
                          <a:path w="734" h="1358">
                            <a:moveTo>
                              <a:pt x="618" y="1262"/>
                            </a:moveTo>
                            <a:lnTo>
                              <a:pt x="668" y="1154"/>
                            </a:lnTo>
                            <a:lnTo>
                              <a:pt x="680" y="1140"/>
                            </a:lnTo>
                            <a:lnTo>
                              <a:pt x="648" y="1044"/>
                            </a:lnTo>
                            <a:lnTo>
                              <a:pt x="678" y="896"/>
                            </a:lnTo>
                            <a:lnTo>
                              <a:pt x="718" y="910"/>
                            </a:lnTo>
                            <a:lnTo>
                              <a:pt x="734" y="790"/>
                            </a:lnTo>
                            <a:lnTo>
                              <a:pt x="730" y="788"/>
                            </a:lnTo>
                            <a:lnTo>
                              <a:pt x="730" y="786"/>
                            </a:lnTo>
                            <a:lnTo>
                              <a:pt x="716" y="904"/>
                            </a:lnTo>
                            <a:lnTo>
                              <a:pt x="676" y="892"/>
                            </a:lnTo>
                            <a:lnTo>
                              <a:pt x="646" y="1040"/>
                            </a:lnTo>
                            <a:lnTo>
                              <a:pt x="262" y="482"/>
                            </a:lnTo>
                            <a:lnTo>
                              <a:pt x="272" y="454"/>
                            </a:lnTo>
                            <a:lnTo>
                              <a:pt x="262" y="426"/>
                            </a:lnTo>
                            <a:lnTo>
                              <a:pt x="338" y="98"/>
                            </a:lnTo>
                            <a:lnTo>
                              <a:pt x="564" y="144"/>
                            </a:lnTo>
                            <a:lnTo>
                              <a:pt x="566" y="140"/>
                            </a:lnTo>
                            <a:lnTo>
                              <a:pt x="338" y="92"/>
                            </a:lnTo>
                            <a:lnTo>
                              <a:pt x="0" y="0"/>
                            </a:lnTo>
                            <a:lnTo>
                              <a:pt x="0" y="0"/>
                            </a:lnTo>
                            <a:lnTo>
                              <a:pt x="2" y="8"/>
                            </a:lnTo>
                            <a:lnTo>
                              <a:pt x="334" y="98"/>
                            </a:lnTo>
                            <a:lnTo>
                              <a:pt x="256" y="426"/>
                            </a:lnTo>
                            <a:lnTo>
                              <a:pt x="266" y="454"/>
                            </a:lnTo>
                            <a:lnTo>
                              <a:pt x="256" y="482"/>
                            </a:lnTo>
                            <a:lnTo>
                              <a:pt x="644" y="1044"/>
                            </a:lnTo>
                            <a:lnTo>
                              <a:pt x="674" y="1140"/>
                            </a:lnTo>
                            <a:lnTo>
                              <a:pt x="664" y="1150"/>
                            </a:lnTo>
                            <a:lnTo>
                              <a:pt x="614" y="1260"/>
                            </a:lnTo>
                            <a:lnTo>
                              <a:pt x="626" y="1314"/>
                            </a:lnTo>
                            <a:lnTo>
                              <a:pt x="600" y="1354"/>
                            </a:lnTo>
                            <a:lnTo>
                              <a:pt x="604" y="1358"/>
                            </a:lnTo>
                            <a:lnTo>
                              <a:pt x="606" y="1358"/>
                            </a:lnTo>
                            <a:lnTo>
                              <a:pt x="630" y="1316"/>
                            </a:lnTo>
                            <a:lnTo>
                              <a:pt x="618" y="126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09" name="Freeform 2893"/>
                      <p:cNvSpPr>
                        <a:spLocks/>
                      </p:cNvSpPr>
                      <p:nvPr/>
                    </p:nvSpPr>
                    <p:spPr bwMode="auto">
                      <a:xfrm>
                        <a:off x="1330" y="1573"/>
                        <a:ext cx="4" cy="4"/>
                      </a:xfrm>
                      <a:custGeom>
                        <a:avLst/>
                        <a:gdLst/>
                        <a:ahLst/>
                        <a:cxnLst>
                          <a:cxn ang="0">
                            <a:pos x="4" y="0"/>
                          </a:cxn>
                          <a:cxn ang="0">
                            <a:pos x="2" y="0"/>
                          </a:cxn>
                          <a:cxn ang="0">
                            <a:pos x="0" y="4"/>
                          </a:cxn>
                          <a:cxn ang="0">
                            <a:pos x="4" y="4"/>
                          </a:cxn>
                          <a:cxn ang="0">
                            <a:pos x="4" y="0"/>
                          </a:cxn>
                        </a:cxnLst>
                        <a:rect l="0" t="0" r="r" b="b"/>
                        <a:pathLst>
                          <a:path w="4" h="4">
                            <a:moveTo>
                              <a:pt x="4" y="0"/>
                            </a:moveTo>
                            <a:lnTo>
                              <a:pt x="2" y="0"/>
                            </a:lnTo>
                            <a:lnTo>
                              <a:pt x="0" y="4"/>
                            </a:lnTo>
                            <a:lnTo>
                              <a:pt x="4" y="4"/>
                            </a:lnTo>
                            <a:lnTo>
                              <a:pt x="4"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0" name="Freeform 2894"/>
                      <p:cNvSpPr>
                        <a:spLocks/>
                      </p:cNvSpPr>
                      <p:nvPr/>
                    </p:nvSpPr>
                    <p:spPr bwMode="auto">
                      <a:xfrm>
                        <a:off x="1568" y="1625"/>
                        <a:ext cx="8" cy="6"/>
                      </a:xfrm>
                      <a:custGeom>
                        <a:avLst/>
                        <a:gdLst/>
                        <a:ahLst/>
                        <a:cxnLst>
                          <a:cxn ang="0">
                            <a:pos x="8" y="0"/>
                          </a:cxn>
                          <a:cxn ang="0">
                            <a:pos x="2" y="0"/>
                          </a:cxn>
                          <a:cxn ang="0">
                            <a:pos x="0" y="4"/>
                          </a:cxn>
                          <a:cxn ang="0">
                            <a:pos x="8" y="6"/>
                          </a:cxn>
                          <a:cxn ang="0">
                            <a:pos x="8" y="0"/>
                          </a:cxn>
                        </a:cxnLst>
                        <a:rect l="0" t="0" r="r" b="b"/>
                        <a:pathLst>
                          <a:path w="8" h="6">
                            <a:moveTo>
                              <a:pt x="8" y="0"/>
                            </a:moveTo>
                            <a:lnTo>
                              <a:pt x="2" y="0"/>
                            </a:lnTo>
                            <a:lnTo>
                              <a:pt x="0" y="4"/>
                            </a:lnTo>
                            <a:lnTo>
                              <a:pt x="8" y="6"/>
                            </a:lnTo>
                            <a:lnTo>
                              <a:pt x="8"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1" name="Freeform 2895"/>
                      <p:cNvSpPr>
                        <a:spLocks/>
                      </p:cNvSpPr>
                      <p:nvPr/>
                    </p:nvSpPr>
                    <p:spPr bwMode="auto">
                      <a:xfrm>
                        <a:off x="3476" y="3155"/>
                        <a:ext cx="4" cy="1"/>
                      </a:xfrm>
                      <a:custGeom>
                        <a:avLst/>
                        <a:gdLst/>
                        <a:ahLst/>
                        <a:cxnLst>
                          <a:cxn ang="0">
                            <a:pos x="4" y="0"/>
                          </a:cxn>
                          <a:cxn ang="0">
                            <a:pos x="4" y="0"/>
                          </a:cxn>
                          <a:cxn ang="0">
                            <a:pos x="0" y="0"/>
                          </a:cxn>
                          <a:cxn ang="0">
                            <a:pos x="4" y="0"/>
                          </a:cxn>
                        </a:cxnLst>
                        <a:rect l="0" t="0" r="r" b="b"/>
                        <a:pathLst>
                          <a:path w="4">
                            <a:moveTo>
                              <a:pt x="4" y="0"/>
                            </a:moveTo>
                            <a:lnTo>
                              <a:pt x="4" y="0"/>
                            </a:lnTo>
                            <a:lnTo>
                              <a:pt x="0" y="0"/>
                            </a:lnTo>
                            <a:lnTo>
                              <a:pt x="4"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2" name="Freeform 2896"/>
                      <p:cNvSpPr>
                        <a:spLocks/>
                      </p:cNvSpPr>
                      <p:nvPr/>
                    </p:nvSpPr>
                    <p:spPr bwMode="auto">
                      <a:xfrm>
                        <a:off x="2174" y="2981"/>
                        <a:ext cx="2" cy="4"/>
                      </a:xfrm>
                      <a:custGeom>
                        <a:avLst/>
                        <a:gdLst/>
                        <a:ahLst/>
                        <a:cxnLst>
                          <a:cxn ang="0">
                            <a:pos x="2" y="4"/>
                          </a:cxn>
                          <a:cxn ang="0">
                            <a:pos x="2" y="2"/>
                          </a:cxn>
                          <a:cxn ang="0">
                            <a:pos x="0" y="0"/>
                          </a:cxn>
                          <a:cxn ang="0">
                            <a:pos x="2" y="4"/>
                          </a:cxn>
                        </a:cxnLst>
                        <a:rect l="0" t="0" r="r" b="b"/>
                        <a:pathLst>
                          <a:path w="2" h="4">
                            <a:moveTo>
                              <a:pt x="2" y="4"/>
                            </a:moveTo>
                            <a:lnTo>
                              <a:pt x="2" y="2"/>
                            </a:lnTo>
                            <a:lnTo>
                              <a:pt x="0" y="0"/>
                            </a:lnTo>
                            <a:lnTo>
                              <a:pt x="2"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3" name="Freeform 2897"/>
                      <p:cNvSpPr>
                        <a:spLocks/>
                      </p:cNvSpPr>
                      <p:nvPr/>
                    </p:nvSpPr>
                    <p:spPr bwMode="auto">
                      <a:xfrm>
                        <a:off x="1910" y="3007"/>
                        <a:ext cx="8" cy="2"/>
                      </a:xfrm>
                      <a:custGeom>
                        <a:avLst/>
                        <a:gdLst/>
                        <a:ahLst/>
                        <a:cxnLst>
                          <a:cxn ang="0">
                            <a:pos x="0" y="0"/>
                          </a:cxn>
                          <a:cxn ang="0">
                            <a:pos x="8" y="2"/>
                          </a:cxn>
                          <a:cxn ang="0">
                            <a:pos x="8" y="0"/>
                          </a:cxn>
                          <a:cxn ang="0">
                            <a:pos x="0" y="0"/>
                          </a:cxn>
                          <a:cxn ang="0">
                            <a:pos x="0" y="0"/>
                          </a:cxn>
                        </a:cxnLst>
                        <a:rect l="0" t="0" r="r" b="b"/>
                        <a:pathLst>
                          <a:path w="8" h="2">
                            <a:moveTo>
                              <a:pt x="0" y="0"/>
                            </a:moveTo>
                            <a:lnTo>
                              <a:pt x="8" y="2"/>
                            </a:lnTo>
                            <a:lnTo>
                              <a:pt x="8" y="0"/>
                            </a:lnTo>
                            <a:lnTo>
                              <a:pt x="0"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4" name="Freeform 2898"/>
                      <p:cNvSpPr>
                        <a:spLocks/>
                      </p:cNvSpPr>
                      <p:nvPr/>
                    </p:nvSpPr>
                    <p:spPr bwMode="auto">
                      <a:xfrm>
                        <a:off x="3410" y="2759"/>
                        <a:ext cx="92" cy="396"/>
                      </a:xfrm>
                      <a:custGeom>
                        <a:avLst/>
                        <a:gdLst/>
                        <a:ahLst/>
                        <a:cxnLst>
                          <a:cxn ang="0">
                            <a:pos x="92" y="254"/>
                          </a:cxn>
                          <a:cxn ang="0">
                            <a:pos x="24" y="134"/>
                          </a:cxn>
                          <a:cxn ang="0">
                            <a:pos x="8" y="0"/>
                          </a:cxn>
                          <a:cxn ang="0">
                            <a:pos x="0" y="0"/>
                          </a:cxn>
                          <a:cxn ang="0">
                            <a:pos x="18" y="136"/>
                          </a:cxn>
                          <a:cxn ang="0">
                            <a:pos x="88" y="254"/>
                          </a:cxn>
                          <a:cxn ang="0">
                            <a:pos x="78" y="350"/>
                          </a:cxn>
                          <a:cxn ang="0">
                            <a:pos x="64" y="394"/>
                          </a:cxn>
                          <a:cxn ang="0">
                            <a:pos x="66" y="396"/>
                          </a:cxn>
                          <a:cxn ang="0">
                            <a:pos x="70" y="396"/>
                          </a:cxn>
                          <a:cxn ang="0">
                            <a:pos x="84" y="352"/>
                          </a:cxn>
                          <a:cxn ang="0">
                            <a:pos x="92" y="254"/>
                          </a:cxn>
                        </a:cxnLst>
                        <a:rect l="0" t="0" r="r" b="b"/>
                        <a:pathLst>
                          <a:path w="92" h="396">
                            <a:moveTo>
                              <a:pt x="92" y="254"/>
                            </a:moveTo>
                            <a:lnTo>
                              <a:pt x="24" y="134"/>
                            </a:lnTo>
                            <a:lnTo>
                              <a:pt x="8" y="0"/>
                            </a:lnTo>
                            <a:lnTo>
                              <a:pt x="0" y="0"/>
                            </a:lnTo>
                            <a:lnTo>
                              <a:pt x="18" y="136"/>
                            </a:lnTo>
                            <a:lnTo>
                              <a:pt x="88" y="254"/>
                            </a:lnTo>
                            <a:lnTo>
                              <a:pt x="78" y="350"/>
                            </a:lnTo>
                            <a:lnTo>
                              <a:pt x="64" y="394"/>
                            </a:lnTo>
                            <a:lnTo>
                              <a:pt x="66" y="396"/>
                            </a:lnTo>
                            <a:lnTo>
                              <a:pt x="70" y="396"/>
                            </a:lnTo>
                            <a:lnTo>
                              <a:pt x="84" y="352"/>
                            </a:lnTo>
                            <a:lnTo>
                              <a:pt x="92" y="25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5" name="Rectangle 2899"/>
                      <p:cNvSpPr>
                        <a:spLocks noChangeArrowheads="1"/>
                      </p:cNvSpPr>
                      <p:nvPr/>
                    </p:nvSpPr>
                    <p:spPr bwMode="auto">
                      <a:xfrm>
                        <a:off x="1496" y="2219"/>
                        <a:ext cx="1"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16" name="Freeform 2900"/>
                      <p:cNvSpPr>
                        <a:spLocks/>
                      </p:cNvSpPr>
                      <p:nvPr/>
                    </p:nvSpPr>
                    <p:spPr bwMode="auto">
                      <a:xfrm>
                        <a:off x="1500" y="1335"/>
                        <a:ext cx="1918" cy="1672"/>
                      </a:xfrm>
                      <a:custGeom>
                        <a:avLst/>
                        <a:gdLst/>
                        <a:ahLst/>
                        <a:cxnLst>
                          <a:cxn ang="0">
                            <a:pos x="1038" y="1058"/>
                          </a:cxn>
                          <a:cxn ang="0">
                            <a:pos x="1320" y="1284"/>
                          </a:cxn>
                          <a:cxn ang="0">
                            <a:pos x="1796" y="1340"/>
                          </a:cxn>
                          <a:cxn ang="0">
                            <a:pos x="1910" y="1424"/>
                          </a:cxn>
                          <a:cxn ang="0">
                            <a:pos x="1918" y="1420"/>
                          </a:cxn>
                          <a:cxn ang="0">
                            <a:pos x="1874" y="1366"/>
                          </a:cxn>
                          <a:cxn ang="0">
                            <a:pos x="1864" y="1366"/>
                          </a:cxn>
                          <a:cxn ang="0">
                            <a:pos x="1798" y="1334"/>
                          </a:cxn>
                          <a:cxn ang="0">
                            <a:pos x="1326" y="1280"/>
                          </a:cxn>
                          <a:cxn ang="0">
                            <a:pos x="1058" y="1050"/>
                          </a:cxn>
                          <a:cxn ang="0">
                            <a:pos x="1830" y="954"/>
                          </a:cxn>
                          <a:cxn ang="0">
                            <a:pos x="1138" y="972"/>
                          </a:cxn>
                          <a:cxn ang="0">
                            <a:pos x="1134" y="974"/>
                          </a:cxn>
                          <a:cxn ang="0">
                            <a:pos x="1052" y="974"/>
                          </a:cxn>
                          <a:cxn ang="0">
                            <a:pos x="508" y="498"/>
                          </a:cxn>
                          <a:cxn ang="0">
                            <a:pos x="1128" y="616"/>
                          </a:cxn>
                          <a:cxn ang="0">
                            <a:pos x="1128" y="618"/>
                          </a:cxn>
                          <a:cxn ang="0">
                            <a:pos x="1734" y="610"/>
                          </a:cxn>
                          <a:cxn ang="0">
                            <a:pos x="1726" y="604"/>
                          </a:cxn>
                          <a:cxn ang="0">
                            <a:pos x="1710" y="542"/>
                          </a:cxn>
                          <a:cxn ang="0">
                            <a:pos x="1726" y="604"/>
                          </a:cxn>
                          <a:cxn ang="0">
                            <a:pos x="1126" y="518"/>
                          </a:cxn>
                          <a:cxn ang="0">
                            <a:pos x="972" y="252"/>
                          </a:cxn>
                          <a:cxn ang="0">
                            <a:pos x="972" y="248"/>
                          </a:cxn>
                          <a:cxn ang="0">
                            <a:pos x="976" y="0"/>
                          </a:cxn>
                          <a:cxn ang="0">
                            <a:pos x="974" y="0"/>
                          </a:cxn>
                          <a:cxn ang="0">
                            <a:pos x="966" y="510"/>
                          </a:cxn>
                          <a:cxn ang="0">
                            <a:pos x="316" y="468"/>
                          </a:cxn>
                          <a:cxn ang="0">
                            <a:pos x="342" y="348"/>
                          </a:cxn>
                          <a:cxn ang="0">
                            <a:pos x="336" y="350"/>
                          </a:cxn>
                          <a:cxn ang="0">
                            <a:pos x="500" y="498"/>
                          </a:cxn>
                          <a:cxn ang="0">
                            <a:pos x="0" y="884"/>
                          </a:cxn>
                          <a:cxn ang="0">
                            <a:pos x="452" y="968"/>
                          </a:cxn>
                          <a:cxn ang="0">
                            <a:pos x="418" y="1672"/>
                          </a:cxn>
                          <a:cxn ang="0">
                            <a:pos x="1050" y="982"/>
                          </a:cxn>
                          <a:cxn ang="0">
                            <a:pos x="1030" y="1050"/>
                          </a:cxn>
                          <a:cxn ang="0">
                            <a:pos x="672" y="1602"/>
                          </a:cxn>
                          <a:cxn ang="0">
                            <a:pos x="674" y="1646"/>
                          </a:cxn>
                          <a:cxn ang="0">
                            <a:pos x="676" y="1610"/>
                          </a:cxn>
                        </a:cxnLst>
                        <a:rect l="0" t="0" r="r" b="b"/>
                        <a:pathLst>
                          <a:path w="1918" h="1672">
                            <a:moveTo>
                              <a:pt x="1046" y="1620"/>
                            </a:moveTo>
                            <a:lnTo>
                              <a:pt x="1038" y="1058"/>
                            </a:lnTo>
                            <a:lnTo>
                              <a:pt x="1308" y="1048"/>
                            </a:lnTo>
                            <a:lnTo>
                              <a:pt x="1320" y="1284"/>
                            </a:lnTo>
                            <a:lnTo>
                              <a:pt x="1528" y="1352"/>
                            </a:lnTo>
                            <a:lnTo>
                              <a:pt x="1796" y="1340"/>
                            </a:lnTo>
                            <a:lnTo>
                              <a:pt x="1906" y="1386"/>
                            </a:lnTo>
                            <a:lnTo>
                              <a:pt x="1910" y="1424"/>
                            </a:lnTo>
                            <a:lnTo>
                              <a:pt x="1910" y="1420"/>
                            </a:lnTo>
                            <a:lnTo>
                              <a:pt x="1918" y="1420"/>
                            </a:lnTo>
                            <a:lnTo>
                              <a:pt x="1914" y="1382"/>
                            </a:lnTo>
                            <a:lnTo>
                              <a:pt x="1874" y="1366"/>
                            </a:lnTo>
                            <a:lnTo>
                              <a:pt x="1874" y="1370"/>
                            </a:lnTo>
                            <a:lnTo>
                              <a:pt x="1864" y="1366"/>
                            </a:lnTo>
                            <a:lnTo>
                              <a:pt x="1864" y="1362"/>
                            </a:lnTo>
                            <a:lnTo>
                              <a:pt x="1798" y="1334"/>
                            </a:lnTo>
                            <a:lnTo>
                              <a:pt x="1528" y="1348"/>
                            </a:lnTo>
                            <a:lnTo>
                              <a:pt x="1326" y="1280"/>
                            </a:lnTo>
                            <a:lnTo>
                              <a:pt x="1312" y="1042"/>
                            </a:lnTo>
                            <a:lnTo>
                              <a:pt x="1058" y="1050"/>
                            </a:lnTo>
                            <a:lnTo>
                              <a:pt x="1056" y="982"/>
                            </a:lnTo>
                            <a:lnTo>
                              <a:pt x="1830" y="954"/>
                            </a:lnTo>
                            <a:lnTo>
                              <a:pt x="1828" y="948"/>
                            </a:lnTo>
                            <a:lnTo>
                              <a:pt x="1138" y="972"/>
                            </a:lnTo>
                            <a:lnTo>
                              <a:pt x="1138" y="974"/>
                            </a:lnTo>
                            <a:lnTo>
                              <a:pt x="1134" y="974"/>
                            </a:lnTo>
                            <a:lnTo>
                              <a:pt x="1134" y="972"/>
                            </a:lnTo>
                            <a:lnTo>
                              <a:pt x="1052" y="974"/>
                            </a:lnTo>
                            <a:lnTo>
                              <a:pt x="458" y="964"/>
                            </a:lnTo>
                            <a:lnTo>
                              <a:pt x="508" y="498"/>
                            </a:lnTo>
                            <a:lnTo>
                              <a:pt x="1120" y="524"/>
                            </a:lnTo>
                            <a:lnTo>
                              <a:pt x="1128" y="616"/>
                            </a:lnTo>
                            <a:lnTo>
                              <a:pt x="1128" y="616"/>
                            </a:lnTo>
                            <a:lnTo>
                              <a:pt x="1128" y="618"/>
                            </a:lnTo>
                            <a:lnTo>
                              <a:pt x="1736" y="610"/>
                            </a:lnTo>
                            <a:lnTo>
                              <a:pt x="1734" y="610"/>
                            </a:lnTo>
                            <a:lnTo>
                              <a:pt x="1726" y="610"/>
                            </a:lnTo>
                            <a:lnTo>
                              <a:pt x="1726" y="604"/>
                            </a:lnTo>
                            <a:lnTo>
                              <a:pt x="1732" y="604"/>
                            </a:lnTo>
                            <a:lnTo>
                              <a:pt x="1710" y="542"/>
                            </a:lnTo>
                            <a:lnTo>
                              <a:pt x="1704" y="542"/>
                            </a:lnTo>
                            <a:lnTo>
                              <a:pt x="1726" y="604"/>
                            </a:lnTo>
                            <a:lnTo>
                              <a:pt x="1132" y="612"/>
                            </a:lnTo>
                            <a:lnTo>
                              <a:pt x="1126" y="518"/>
                            </a:lnTo>
                            <a:lnTo>
                              <a:pt x="968" y="514"/>
                            </a:lnTo>
                            <a:lnTo>
                              <a:pt x="972" y="252"/>
                            </a:lnTo>
                            <a:lnTo>
                              <a:pt x="972" y="252"/>
                            </a:lnTo>
                            <a:lnTo>
                              <a:pt x="972" y="248"/>
                            </a:lnTo>
                            <a:lnTo>
                              <a:pt x="972" y="248"/>
                            </a:lnTo>
                            <a:lnTo>
                              <a:pt x="976" y="0"/>
                            </a:lnTo>
                            <a:lnTo>
                              <a:pt x="974" y="0"/>
                            </a:lnTo>
                            <a:lnTo>
                              <a:pt x="974" y="0"/>
                            </a:lnTo>
                            <a:lnTo>
                              <a:pt x="972" y="0"/>
                            </a:lnTo>
                            <a:lnTo>
                              <a:pt x="966" y="510"/>
                            </a:lnTo>
                            <a:lnTo>
                              <a:pt x="508" y="496"/>
                            </a:lnTo>
                            <a:lnTo>
                              <a:pt x="316" y="468"/>
                            </a:lnTo>
                            <a:lnTo>
                              <a:pt x="344" y="348"/>
                            </a:lnTo>
                            <a:lnTo>
                              <a:pt x="342" y="348"/>
                            </a:lnTo>
                            <a:lnTo>
                              <a:pt x="342" y="352"/>
                            </a:lnTo>
                            <a:lnTo>
                              <a:pt x="336" y="350"/>
                            </a:lnTo>
                            <a:lnTo>
                              <a:pt x="312" y="472"/>
                            </a:lnTo>
                            <a:lnTo>
                              <a:pt x="500" y="498"/>
                            </a:lnTo>
                            <a:lnTo>
                              <a:pt x="452" y="964"/>
                            </a:lnTo>
                            <a:lnTo>
                              <a:pt x="0" y="884"/>
                            </a:lnTo>
                            <a:lnTo>
                              <a:pt x="0" y="888"/>
                            </a:lnTo>
                            <a:lnTo>
                              <a:pt x="452" y="968"/>
                            </a:lnTo>
                            <a:lnTo>
                              <a:pt x="410" y="1672"/>
                            </a:lnTo>
                            <a:lnTo>
                              <a:pt x="418" y="1672"/>
                            </a:lnTo>
                            <a:lnTo>
                              <a:pt x="458" y="968"/>
                            </a:lnTo>
                            <a:lnTo>
                              <a:pt x="1050" y="982"/>
                            </a:lnTo>
                            <a:lnTo>
                              <a:pt x="1050" y="1050"/>
                            </a:lnTo>
                            <a:lnTo>
                              <a:pt x="1030" y="1050"/>
                            </a:lnTo>
                            <a:lnTo>
                              <a:pt x="1038" y="1610"/>
                            </a:lnTo>
                            <a:lnTo>
                              <a:pt x="672" y="1602"/>
                            </a:lnTo>
                            <a:lnTo>
                              <a:pt x="670" y="1642"/>
                            </a:lnTo>
                            <a:lnTo>
                              <a:pt x="674" y="1646"/>
                            </a:lnTo>
                            <a:lnTo>
                              <a:pt x="676" y="1648"/>
                            </a:lnTo>
                            <a:lnTo>
                              <a:pt x="676" y="1610"/>
                            </a:lnTo>
                            <a:lnTo>
                              <a:pt x="1046" y="162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7" name="Freeform 2901"/>
                      <p:cNvSpPr>
                        <a:spLocks/>
                      </p:cNvSpPr>
                      <p:nvPr/>
                    </p:nvSpPr>
                    <p:spPr bwMode="auto">
                      <a:xfrm>
                        <a:off x="3104" y="1481"/>
                        <a:ext cx="106" cy="394"/>
                      </a:xfrm>
                      <a:custGeom>
                        <a:avLst/>
                        <a:gdLst/>
                        <a:ahLst/>
                        <a:cxnLst>
                          <a:cxn ang="0">
                            <a:pos x="12" y="136"/>
                          </a:cxn>
                          <a:cxn ang="0">
                            <a:pos x="8" y="0"/>
                          </a:cxn>
                          <a:cxn ang="0">
                            <a:pos x="0" y="2"/>
                          </a:cxn>
                          <a:cxn ang="0">
                            <a:pos x="4" y="140"/>
                          </a:cxn>
                          <a:cxn ang="0">
                            <a:pos x="98" y="394"/>
                          </a:cxn>
                          <a:cxn ang="0">
                            <a:pos x="106" y="394"/>
                          </a:cxn>
                          <a:cxn ang="0">
                            <a:pos x="12" y="136"/>
                          </a:cxn>
                        </a:cxnLst>
                        <a:rect l="0" t="0" r="r" b="b"/>
                        <a:pathLst>
                          <a:path w="106" h="394">
                            <a:moveTo>
                              <a:pt x="12" y="136"/>
                            </a:moveTo>
                            <a:lnTo>
                              <a:pt x="8" y="0"/>
                            </a:lnTo>
                            <a:lnTo>
                              <a:pt x="0" y="2"/>
                            </a:lnTo>
                            <a:lnTo>
                              <a:pt x="4" y="140"/>
                            </a:lnTo>
                            <a:lnTo>
                              <a:pt x="98" y="394"/>
                            </a:lnTo>
                            <a:lnTo>
                              <a:pt x="106" y="394"/>
                            </a:lnTo>
                            <a:lnTo>
                              <a:pt x="12" y="13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8" name="Freeform 2902"/>
                      <p:cNvSpPr>
                        <a:spLocks/>
                      </p:cNvSpPr>
                      <p:nvPr/>
                    </p:nvSpPr>
                    <p:spPr bwMode="auto">
                      <a:xfrm>
                        <a:off x="3014" y="847"/>
                        <a:ext cx="98" cy="634"/>
                      </a:xfrm>
                      <a:custGeom>
                        <a:avLst/>
                        <a:gdLst/>
                        <a:ahLst/>
                        <a:cxnLst>
                          <a:cxn ang="0">
                            <a:pos x="98" y="626"/>
                          </a:cxn>
                          <a:cxn ang="0">
                            <a:pos x="92" y="448"/>
                          </a:cxn>
                          <a:cxn ang="0">
                            <a:pos x="62" y="410"/>
                          </a:cxn>
                          <a:cxn ang="0">
                            <a:pos x="80" y="378"/>
                          </a:cxn>
                          <a:cxn ang="0">
                            <a:pos x="6" y="2"/>
                          </a:cxn>
                          <a:cxn ang="0">
                            <a:pos x="0" y="0"/>
                          </a:cxn>
                          <a:cxn ang="0">
                            <a:pos x="74" y="378"/>
                          </a:cxn>
                          <a:cxn ang="0">
                            <a:pos x="54" y="410"/>
                          </a:cxn>
                          <a:cxn ang="0">
                            <a:pos x="84" y="448"/>
                          </a:cxn>
                          <a:cxn ang="0">
                            <a:pos x="90" y="634"/>
                          </a:cxn>
                          <a:cxn ang="0">
                            <a:pos x="90" y="626"/>
                          </a:cxn>
                          <a:cxn ang="0">
                            <a:pos x="98" y="626"/>
                          </a:cxn>
                        </a:cxnLst>
                        <a:rect l="0" t="0" r="r" b="b"/>
                        <a:pathLst>
                          <a:path w="98" h="634">
                            <a:moveTo>
                              <a:pt x="98" y="626"/>
                            </a:moveTo>
                            <a:lnTo>
                              <a:pt x="92" y="448"/>
                            </a:lnTo>
                            <a:lnTo>
                              <a:pt x="62" y="410"/>
                            </a:lnTo>
                            <a:lnTo>
                              <a:pt x="80" y="378"/>
                            </a:lnTo>
                            <a:lnTo>
                              <a:pt x="6" y="2"/>
                            </a:lnTo>
                            <a:lnTo>
                              <a:pt x="0" y="0"/>
                            </a:lnTo>
                            <a:lnTo>
                              <a:pt x="74" y="378"/>
                            </a:lnTo>
                            <a:lnTo>
                              <a:pt x="54" y="410"/>
                            </a:lnTo>
                            <a:lnTo>
                              <a:pt x="84" y="448"/>
                            </a:lnTo>
                            <a:lnTo>
                              <a:pt x="90" y="634"/>
                            </a:lnTo>
                            <a:lnTo>
                              <a:pt x="90" y="626"/>
                            </a:lnTo>
                            <a:lnTo>
                              <a:pt x="98" y="62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19" name="Rectangle 2903"/>
                      <p:cNvSpPr>
                        <a:spLocks noChangeArrowheads="1"/>
                      </p:cNvSpPr>
                      <p:nvPr/>
                    </p:nvSpPr>
                    <p:spPr bwMode="auto">
                      <a:xfrm>
                        <a:off x="2628" y="1951"/>
                        <a:ext cx="1" cy="2"/>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20" name="Rectangle 2904"/>
                      <p:cNvSpPr>
                        <a:spLocks noChangeArrowheads="1"/>
                      </p:cNvSpPr>
                      <p:nvPr/>
                    </p:nvSpPr>
                    <p:spPr bwMode="auto">
                      <a:xfrm>
                        <a:off x="2634" y="2307"/>
                        <a:ext cx="4" cy="2"/>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21" name="Freeform 2905"/>
                      <p:cNvSpPr>
                        <a:spLocks/>
                      </p:cNvSpPr>
                      <p:nvPr/>
                    </p:nvSpPr>
                    <p:spPr bwMode="auto">
                      <a:xfrm>
                        <a:off x="3202" y="1875"/>
                        <a:ext cx="8" cy="2"/>
                      </a:xfrm>
                      <a:custGeom>
                        <a:avLst/>
                        <a:gdLst/>
                        <a:ahLst/>
                        <a:cxnLst>
                          <a:cxn ang="0">
                            <a:pos x="0" y="0"/>
                          </a:cxn>
                          <a:cxn ang="0">
                            <a:pos x="2" y="2"/>
                          </a:cxn>
                          <a:cxn ang="0">
                            <a:pos x="8" y="2"/>
                          </a:cxn>
                          <a:cxn ang="0">
                            <a:pos x="8" y="0"/>
                          </a:cxn>
                          <a:cxn ang="0">
                            <a:pos x="0" y="0"/>
                          </a:cxn>
                        </a:cxnLst>
                        <a:rect l="0" t="0" r="r" b="b"/>
                        <a:pathLst>
                          <a:path w="8" h="2">
                            <a:moveTo>
                              <a:pt x="0" y="0"/>
                            </a:moveTo>
                            <a:lnTo>
                              <a:pt x="2" y="2"/>
                            </a:lnTo>
                            <a:lnTo>
                              <a:pt x="8" y="2"/>
                            </a:lnTo>
                            <a:lnTo>
                              <a:pt x="8"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2" name="Freeform 2906"/>
                      <p:cNvSpPr>
                        <a:spLocks/>
                      </p:cNvSpPr>
                      <p:nvPr/>
                    </p:nvSpPr>
                    <p:spPr bwMode="auto">
                      <a:xfrm>
                        <a:off x="1836" y="1681"/>
                        <a:ext cx="6" cy="6"/>
                      </a:xfrm>
                      <a:custGeom>
                        <a:avLst/>
                        <a:gdLst/>
                        <a:ahLst/>
                        <a:cxnLst>
                          <a:cxn ang="0">
                            <a:pos x="0" y="4"/>
                          </a:cxn>
                          <a:cxn ang="0">
                            <a:pos x="6" y="6"/>
                          </a:cxn>
                          <a:cxn ang="0">
                            <a:pos x="6" y="2"/>
                          </a:cxn>
                          <a:cxn ang="0">
                            <a:pos x="0" y="0"/>
                          </a:cxn>
                          <a:cxn ang="0">
                            <a:pos x="0" y="4"/>
                          </a:cxn>
                        </a:cxnLst>
                        <a:rect l="0" t="0" r="r" b="b"/>
                        <a:pathLst>
                          <a:path w="6" h="6">
                            <a:moveTo>
                              <a:pt x="0" y="4"/>
                            </a:moveTo>
                            <a:lnTo>
                              <a:pt x="6" y="6"/>
                            </a:lnTo>
                            <a:lnTo>
                              <a:pt x="6" y="2"/>
                            </a:lnTo>
                            <a:lnTo>
                              <a:pt x="0" y="0"/>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3" name="Rectangle 2907"/>
                      <p:cNvSpPr>
                        <a:spLocks noChangeArrowheads="1"/>
                      </p:cNvSpPr>
                      <p:nvPr/>
                    </p:nvSpPr>
                    <p:spPr bwMode="auto">
                      <a:xfrm>
                        <a:off x="2472" y="1335"/>
                        <a:ext cx="2"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24" name="Freeform 2908"/>
                      <p:cNvSpPr>
                        <a:spLocks/>
                      </p:cNvSpPr>
                      <p:nvPr/>
                    </p:nvSpPr>
                    <p:spPr bwMode="auto">
                      <a:xfrm>
                        <a:off x="1496" y="2219"/>
                        <a:ext cx="4" cy="4"/>
                      </a:xfrm>
                      <a:custGeom>
                        <a:avLst/>
                        <a:gdLst/>
                        <a:ahLst/>
                        <a:cxnLst>
                          <a:cxn ang="0">
                            <a:pos x="0" y="0"/>
                          </a:cxn>
                          <a:cxn ang="0">
                            <a:pos x="0" y="2"/>
                          </a:cxn>
                          <a:cxn ang="0">
                            <a:pos x="4" y="4"/>
                          </a:cxn>
                          <a:cxn ang="0">
                            <a:pos x="4" y="0"/>
                          </a:cxn>
                          <a:cxn ang="0">
                            <a:pos x="0" y="0"/>
                          </a:cxn>
                          <a:cxn ang="0">
                            <a:pos x="0" y="0"/>
                          </a:cxn>
                        </a:cxnLst>
                        <a:rect l="0" t="0" r="r" b="b"/>
                        <a:pathLst>
                          <a:path w="4" h="4">
                            <a:moveTo>
                              <a:pt x="0" y="0"/>
                            </a:moveTo>
                            <a:lnTo>
                              <a:pt x="0" y="2"/>
                            </a:lnTo>
                            <a:lnTo>
                              <a:pt x="4" y="4"/>
                            </a:lnTo>
                            <a:lnTo>
                              <a:pt x="4" y="0"/>
                            </a:lnTo>
                            <a:lnTo>
                              <a:pt x="0"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5" name="Freeform 2909"/>
                      <p:cNvSpPr>
                        <a:spLocks/>
                      </p:cNvSpPr>
                      <p:nvPr/>
                    </p:nvSpPr>
                    <p:spPr bwMode="auto">
                      <a:xfrm>
                        <a:off x="2472" y="1581"/>
                        <a:ext cx="644" cy="62"/>
                      </a:xfrm>
                      <a:custGeom>
                        <a:avLst/>
                        <a:gdLst/>
                        <a:ahLst/>
                        <a:cxnLst>
                          <a:cxn ang="0">
                            <a:pos x="644" y="62"/>
                          </a:cxn>
                          <a:cxn ang="0">
                            <a:pos x="642" y="54"/>
                          </a:cxn>
                          <a:cxn ang="0">
                            <a:pos x="474" y="0"/>
                          </a:cxn>
                          <a:cxn ang="0">
                            <a:pos x="0" y="2"/>
                          </a:cxn>
                          <a:cxn ang="0">
                            <a:pos x="0" y="6"/>
                          </a:cxn>
                          <a:cxn ang="0">
                            <a:pos x="474" y="4"/>
                          </a:cxn>
                          <a:cxn ang="0">
                            <a:pos x="644" y="62"/>
                          </a:cxn>
                        </a:cxnLst>
                        <a:rect l="0" t="0" r="r" b="b"/>
                        <a:pathLst>
                          <a:path w="644" h="62">
                            <a:moveTo>
                              <a:pt x="644" y="62"/>
                            </a:moveTo>
                            <a:lnTo>
                              <a:pt x="642" y="54"/>
                            </a:lnTo>
                            <a:lnTo>
                              <a:pt x="474" y="0"/>
                            </a:lnTo>
                            <a:lnTo>
                              <a:pt x="0" y="2"/>
                            </a:lnTo>
                            <a:lnTo>
                              <a:pt x="0" y="6"/>
                            </a:lnTo>
                            <a:lnTo>
                              <a:pt x="474" y="4"/>
                            </a:lnTo>
                            <a:lnTo>
                              <a:pt x="644" y="6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6" name="Rectangle 2910"/>
                      <p:cNvSpPr>
                        <a:spLocks noChangeArrowheads="1"/>
                      </p:cNvSpPr>
                      <p:nvPr/>
                    </p:nvSpPr>
                    <p:spPr bwMode="auto">
                      <a:xfrm>
                        <a:off x="2472" y="1583"/>
                        <a:ext cx="1" cy="4"/>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27" name="Freeform 2911"/>
                      <p:cNvSpPr>
                        <a:spLocks/>
                      </p:cNvSpPr>
                      <p:nvPr/>
                    </p:nvSpPr>
                    <p:spPr bwMode="auto">
                      <a:xfrm>
                        <a:off x="3896" y="1623"/>
                        <a:ext cx="4" cy="6"/>
                      </a:xfrm>
                      <a:custGeom>
                        <a:avLst/>
                        <a:gdLst/>
                        <a:ahLst/>
                        <a:cxnLst>
                          <a:cxn ang="0">
                            <a:pos x="4" y="4"/>
                          </a:cxn>
                          <a:cxn ang="0">
                            <a:pos x="4" y="4"/>
                          </a:cxn>
                          <a:cxn ang="0">
                            <a:pos x="0" y="0"/>
                          </a:cxn>
                          <a:cxn ang="0">
                            <a:pos x="0" y="4"/>
                          </a:cxn>
                          <a:cxn ang="0">
                            <a:pos x="2" y="6"/>
                          </a:cxn>
                          <a:cxn ang="0">
                            <a:pos x="4" y="4"/>
                          </a:cxn>
                        </a:cxnLst>
                        <a:rect l="0" t="0" r="r" b="b"/>
                        <a:pathLst>
                          <a:path w="4" h="6">
                            <a:moveTo>
                              <a:pt x="4" y="4"/>
                            </a:moveTo>
                            <a:lnTo>
                              <a:pt x="4" y="4"/>
                            </a:lnTo>
                            <a:lnTo>
                              <a:pt x="0" y="0"/>
                            </a:lnTo>
                            <a:lnTo>
                              <a:pt x="0" y="4"/>
                            </a:lnTo>
                            <a:lnTo>
                              <a:pt x="2" y="6"/>
                            </a:lnTo>
                            <a:lnTo>
                              <a:pt x="4"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8" name="Freeform 2912"/>
                      <p:cNvSpPr>
                        <a:spLocks/>
                      </p:cNvSpPr>
                      <p:nvPr/>
                    </p:nvSpPr>
                    <p:spPr bwMode="auto">
                      <a:xfrm>
                        <a:off x="3440" y="1043"/>
                        <a:ext cx="6" cy="6"/>
                      </a:xfrm>
                      <a:custGeom>
                        <a:avLst/>
                        <a:gdLst/>
                        <a:ahLst/>
                        <a:cxnLst>
                          <a:cxn ang="0">
                            <a:pos x="6" y="0"/>
                          </a:cxn>
                          <a:cxn ang="0">
                            <a:pos x="0" y="4"/>
                          </a:cxn>
                          <a:cxn ang="0">
                            <a:pos x="0" y="6"/>
                          </a:cxn>
                          <a:cxn ang="0">
                            <a:pos x="4" y="6"/>
                          </a:cxn>
                          <a:cxn ang="0">
                            <a:pos x="6" y="0"/>
                          </a:cxn>
                        </a:cxnLst>
                        <a:rect l="0" t="0" r="r" b="b"/>
                        <a:pathLst>
                          <a:path w="6" h="6">
                            <a:moveTo>
                              <a:pt x="6" y="0"/>
                            </a:moveTo>
                            <a:lnTo>
                              <a:pt x="0" y="4"/>
                            </a:lnTo>
                            <a:lnTo>
                              <a:pt x="0" y="6"/>
                            </a:lnTo>
                            <a:lnTo>
                              <a:pt x="4" y="6"/>
                            </a:lnTo>
                            <a:lnTo>
                              <a:pt x="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29" name="Freeform 2913"/>
                      <p:cNvSpPr>
                        <a:spLocks/>
                      </p:cNvSpPr>
                      <p:nvPr/>
                    </p:nvSpPr>
                    <p:spPr bwMode="auto">
                      <a:xfrm>
                        <a:off x="3362" y="1049"/>
                        <a:ext cx="576" cy="1180"/>
                      </a:xfrm>
                      <a:custGeom>
                        <a:avLst/>
                        <a:gdLst/>
                        <a:ahLst/>
                        <a:cxnLst>
                          <a:cxn ang="0">
                            <a:pos x="0" y="130"/>
                          </a:cxn>
                          <a:cxn ang="0">
                            <a:pos x="30" y="268"/>
                          </a:cxn>
                          <a:cxn ang="0">
                            <a:pos x="168" y="352"/>
                          </a:cxn>
                          <a:cxn ang="0">
                            <a:pos x="178" y="410"/>
                          </a:cxn>
                          <a:cxn ang="0">
                            <a:pos x="194" y="484"/>
                          </a:cxn>
                          <a:cxn ang="0">
                            <a:pos x="266" y="554"/>
                          </a:cxn>
                          <a:cxn ang="0">
                            <a:pos x="274" y="610"/>
                          </a:cxn>
                          <a:cxn ang="0">
                            <a:pos x="214" y="676"/>
                          </a:cxn>
                          <a:cxn ang="0">
                            <a:pos x="234" y="716"/>
                          </a:cxn>
                          <a:cxn ang="0">
                            <a:pos x="194" y="786"/>
                          </a:cxn>
                          <a:cxn ang="0">
                            <a:pos x="194" y="816"/>
                          </a:cxn>
                          <a:cxn ang="0">
                            <a:pos x="196" y="816"/>
                          </a:cxn>
                          <a:cxn ang="0">
                            <a:pos x="196" y="820"/>
                          </a:cxn>
                          <a:cxn ang="0">
                            <a:pos x="194" y="820"/>
                          </a:cxn>
                          <a:cxn ang="0">
                            <a:pos x="194" y="834"/>
                          </a:cxn>
                          <a:cxn ang="0">
                            <a:pos x="292" y="960"/>
                          </a:cxn>
                          <a:cxn ang="0">
                            <a:pos x="324" y="960"/>
                          </a:cxn>
                          <a:cxn ang="0">
                            <a:pos x="324" y="1040"/>
                          </a:cxn>
                          <a:cxn ang="0">
                            <a:pos x="404" y="1098"/>
                          </a:cxn>
                          <a:cxn ang="0">
                            <a:pos x="434" y="1180"/>
                          </a:cxn>
                          <a:cxn ang="0">
                            <a:pos x="456" y="1136"/>
                          </a:cxn>
                          <a:cxn ang="0">
                            <a:pos x="506" y="1162"/>
                          </a:cxn>
                          <a:cxn ang="0">
                            <a:pos x="548" y="1106"/>
                          </a:cxn>
                          <a:cxn ang="0">
                            <a:pos x="560" y="1024"/>
                          </a:cxn>
                          <a:cxn ang="0">
                            <a:pos x="576" y="942"/>
                          </a:cxn>
                          <a:cxn ang="0">
                            <a:pos x="538" y="578"/>
                          </a:cxn>
                          <a:cxn ang="0">
                            <a:pos x="536" y="580"/>
                          </a:cxn>
                          <a:cxn ang="0">
                            <a:pos x="534" y="578"/>
                          </a:cxn>
                          <a:cxn ang="0">
                            <a:pos x="574" y="942"/>
                          </a:cxn>
                          <a:cxn ang="0">
                            <a:pos x="554" y="1024"/>
                          </a:cxn>
                          <a:cxn ang="0">
                            <a:pos x="546" y="1106"/>
                          </a:cxn>
                          <a:cxn ang="0">
                            <a:pos x="506" y="1158"/>
                          </a:cxn>
                          <a:cxn ang="0">
                            <a:pos x="456" y="1130"/>
                          </a:cxn>
                          <a:cxn ang="0">
                            <a:pos x="434" y="1172"/>
                          </a:cxn>
                          <a:cxn ang="0">
                            <a:pos x="406" y="1094"/>
                          </a:cxn>
                          <a:cxn ang="0">
                            <a:pos x="328" y="1040"/>
                          </a:cxn>
                          <a:cxn ang="0">
                            <a:pos x="328" y="956"/>
                          </a:cxn>
                          <a:cxn ang="0">
                            <a:pos x="294" y="956"/>
                          </a:cxn>
                          <a:cxn ang="0">
                            <a:pos x="198" y="834"/>
                          </a:cxn>
                          <a:cxn ang="0">
                            <a:pos x="198" y="786"/>
                          </a:cxn>
                          <a:cxn ang="0">
                            <a:pos x="240" y="716"/>
                          </a:cxn>
                          <a:cxn ang="0">
                            <a:pos x="220" y="676"/>
                          </a:cxn>
                          <a:cxn ang="0">
                            <a:pos x="276" y="610"/>
                          </a:cxn>
                          <a:cxn ang="0">
                            <a:pos x="268" y="550"/>
                          </a:cxn>
                          <a:cxn ang="0">
                            <a:pos x="198" y="484"/>
                          </a:cxn>
                          <a:cxn ang="0">
                            <a:pos x="170" y="350"/>
                          </a:cxn>
                          <a:cxn ang="0">
                            <a:pos x="32" y="268"/>
                          </a:cxn>
                          <a:cxn ang="0">
                            <a:pos x="4" y="134"/>
                          </a:cxn>
                          <a:cxn ang="0">
                            <a:pos x="40" y="92"/>
                          </a:cxn>
                          <a:cxn ang="0">
                            <a:pos x="82" y="0"/>
                          </a:cxn>
                          <a:cxn ang="0">
                            <a:pos x="78" y="0"/>
                          </a:cxn>
                          <a:cxn ang="0">
                            <a:pos x="40" y="88"/>
                          </a:cxn>
                          <a:cxn ang="0">
                            <a:pos x="0" y="130"/>
                          </a:cxn>
                        </a:cxnLst>
                        <a:rect l="0" t="0" r="r" b="b"/>
                        <a:pathLst>
                          <a:path w="576" h="1180">
                            <a:moveTo>
                              <a:pt x="0" y="130"/>
                            </a:moveTo>
                            <a:lnTo>
                              <a:pt x="30" y="268"/>
                            </a:lnTo>
                            <a:lnTo>
                              <a:pt x="168" y="352"/>
                            </a:lnTo>
                            <a:lnTo>
                              <a:pt x="178" y="410"/>
                            </a:lnTo>
                            <a:lnTo>
                              <a:pt x="194" y="484"/>
                            </a:lnTo>
                            <a:lnTo>
                              <a:pt x="266" y="554"/>
                            </a:lnTo>
                            <a:lnTo>
                              <a:pt x="274" y="610"/>
                            </a:lnTo>
                            <a:lnTo>
                              <a:pt x="214" y="676"/>
                            </a:lnTo>
                            <a:lnTo>
                              <a:pt x="234" y="716"/>
                            </a:lnTo>
                            <a:lnTo>
                              <a:pt x="194" y="786"/>
                            </a:lnTo>
                            <a:lnTo>
                              <a:pt x="194" y="816"/>
                            </a:lnTo>
                            <a:lnTo>
                              <a:pt x="196" y="816"/>
                            </a:lnTo>
                            <a:lnTo>
                              <a:pt x="196" y="820"/>
                            </a:lnTo>
                            <a:lnTo>
                              <a:pt x="194" y="820"/>
                            </a:lnTo>
                            <a:lnTo>
                              <a:pt x="194" y="834"/>
                            </a:lnTo>
                            <a:lnTo>
                              <a:pt x="292" y="960"/>
                            </a:lnTo>
                            <a:lnTo>
                              <a:pt x="324" y="960"/>
                            </a:lnTo>
                            <a:lnTo>
                              <a:pt x="324" y="1040"/>
                            </a:lnTo>
                            <a:lnTo>
                              <a:pt x="404" y="1098"/>
                            </a:lnTo>
                            <a:lnTo>
                              <a:pt x="434" y="1180"/>
                            </a:lnTo>
                            <a:lnTo>
                              <a:pt x="456" y="1136"/>
                            </a:lnTo>
                            <a:lnTo>
                              <a:pt x="506" y="1162"/>
                            </a:lnTo>
                            <a:lnTo>
                              <a:pt x="548" y="1106"/>
                            </a:lnTo>
                            <a:lnTo>
                              <a:pt x="560" y="1024"/>
                            </a:lnTo>
                            <a:lnTo>
                              <a:pt x="576" y="942"/>
                            </a:lnTo>
                            <a:lnTo>
                              <a:pt x="538" y="578"/>
                            </a:lnTo>
                            <a:lnTo>
                              <a:pt x="536" y="580"/>
                            </a:lnTo>
                            <a:lnTo>
                              <a:pt x="534" y="578"/>
                            </a:lnTo>
                            <a:lnTo>
                              <a:pt x="574" y="942"/>
                            </a:lnTo>
                            <a:lnTo>
                              <a:pt x="554" y="1024"/>
                            </a:lnTo>
                            <a:lnTo>
                              <a:pt x="546" y="1106"/>
                            </a:lnTo>
                            <a:lnTo>
                              <a:pt x="506" y="1158"/>
                            </a:lnTo>
                            <a:lnTo>
                              <a:pt x="456" y="1130"/>
                            </a:lnTo>
                            <a:lnTo>
                              <a:pt x="434" y="1172"/>
                            </a:lnTo>
                            <a:lnTo>
                              <a:pt x="406" y="1094"/>
                            </a:lnTo>
                            <a:lnTo>
                              <a:pt x="328" y="1040"/>
                            </a:lnTo>
                            <a:lnTo>
                              <a:pt x="328" y="956"/>
                            </a:lnTo>
                            <a:lnTo>
                              <a:pt x="294" y="956"/>
                            </a:lnTo>
                            <a:lnTo>
                              <a:pt x="198" y="834"/>
                            </a:lnTo>
                            <a:lnTo>
                              <a:pt x="198" y="786"/>
                            </a:lnTo>
                            <a:lnTo>
                              <a:pt x="240" y="716"/>
                            </a:lnTo>
                            <a:lnTo>
                              <a:pt x="220" y="676"/>
                            </a:lnTo>
                            <a:lnTo>
                              <a:pt x="276" y="610"/>
                            </a:lnTo>
                            <a:lnTo>
                              <a:pt x="268" y="550"/>
                            </a:lnTo>
                            <a:lnTo>
                              <a:pt x="198" y="484"/>
                            </a:lnTo>
                            <a:lnTo>
                              <a:pt x="170" y="350"/>
                            </a:lnTo>
                            <a:lnTo>
                              <a:pt x="32" y="268"/>
                            </a:lnTo>
                            <a:lnTo>
                              <a:pt x="4" y="134"/>
                            </a:lnTo>
                            <a:lnTo>
                              <a:pt x="40" y="92"/>
                            </a:lnTo>
                            <a:lnTo>
                              <a:pt x="82" y="0"/>
                            </a:lnTo>
                            <a:lnTo>
                              <a:pt x="78" y="0"/>
                            </a:lnTo>
                            <a:lnTo>
                              <a:pt x="40" y="88"/>
                            </a:lnTo>
                            <a:lnTo>
                              <a:pt x="0" y="13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0" name="Rectangle 2914"/>
                      <p:cNvSpPr>
                        <a:spLocks noChangeArrowheads="1"/>
                      </p:cNvSpPr>
                      <p:nvPr/>
                    </p:nvSpPr>
                    <p:spPr bwMode="auto">
                      <a:xfrm>
                        <a:off x="3556" y="1865"/>
                        <a:ext cx="2" cy="4"/>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31" name="Freeform 2915"/>
                      <p:cNvSpPr>
                        <a:spLocks/>
                      </p:cNvSpPr>
                      <p:nvPr/>
                    </p:nvSpPr>
                    <p:spPr bwMode="auto">
                      <a:xfrm>
                        <a:off x="3112" y="1457"/>
                        <a:ext cx="428" cy="24"/>
                      </a:xfrm>
                      <a:custGeom>
                        <a:avLst/>
                        <a:gdLst/>
                        <a:ahLst/>
                        <a:cxnLst>
                          <a:cxn ang="0">
                            <a:pos x="428" y="6"/>
                          </a:cxn>
                          <a:cxn ang="0">
                            <a:pos x="426" y="0"/>
                          </a:cxn>
                          <a:cxn ang="0">
                            <a:pos x="0" y="16"/>
                          </a:cxn>
                          <a:cxn ang="0">
                            <a:pos x="0" y="24"/>
                          </a:cxn>
                          <a:cxn ang="0">
                            <a:pos x="428" y="6"/>
                          </a:cxn>
                        </a:cxnLst>
                        <a:rect l="0" t="0" r="r" b="b"/>
                        <a:pathLst>
                          <a:path w="428" h="24">
                            <a:moveTo>
                              <a:pt x="428" y="6"/>
                            </a:moveTo>
                            <a:lnTo>
                              <a:pt x="426" y="0"/>
                            </a:lnTo>
                            <a:lnTo>
                              <a:pt x="0" y="16"/>
                            </a:lnTo>
                            <a:lnTo>
                              <a:pt x="0" y="24"/>
                            </a:lnTo>
                            <a:lnTo>
                              <a:pt x="428"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2" name="Freeform 2916"/>
                      <p:cNvSpPr>
                        <a:spLocks/>
                      </p:cNvSpPr>
                      <p:nvPr/>
                    </p:nvSpPr>
                    <p:spPr bwMode="auto">
                      <a:xfrm>
                        <a:off x="3104" y="1481"/>
                        <a:ext cx="1" cy="2"/>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3" name="Freeform 2917"/>
                      <p:cNvSpPr>
                        <a:spLocks/>
                      </p:cNvSpPr>
                      <p:nvPr/>
                    </p:nvSpPr>
                    <p:spPr bwMode="auto">
                      <a:xfrm>
                        <a:off x="3104" y="1473"/>
                        <a:ext cx="8" cy="10"/>
                      </a:xfrm>
                      <a:custGeom>
                        <a:avLst/>
                        <a:gdLst/>
                        <a:ahLst/>
                        <a:cxnLst>
                          <a:cxn ang="0">
                            <a:pos x="8" y="0"/>
                          </a:cxn>
                          <a:cxn ang="0">
                            <a:pos x="0" y="0"/>
                          </a:cxn>
                          <a:cxn ang="0">
                            <a:pos x="0" y="8"/>
                          </a:cxn>
                          <a:cxn ang="0">
                            <a:pos x="0" y="10"/>
                          </a:cxn>
                          <a:cxn ang="0">
                            <a:pos x="8" y="8"/>
                          </a:cxn>
                          <a:cxn ang="0">
                            <a:pos x="8" y="0"/>
                          </a:cxn>
                        </a:cxnLst>
                        <a:rect l="0" t="0" r="r" b="b"/>
                        <a:pathLst>
                          <a:path w="8" h="10">
                            <a:moveTo>
                              <a:pt x="8" y="0"/>
                            </a:moveTo>
                            <a:lnTo>
                              <a:pt x="0" y="0"/>
                            </a:lnTo>
                            <a:lnTo>
                              <a:pt x="0" y="8"/>
                            </a:lnTo>
                            <a:lnTo>
                              <a:pt x="0" y="10"/>
                            </a:lnTo>
                            <a:lnTo>
                              <a:pt x="8" y="8"/>
                            </a:lnTo>
                            <a:lnTo>
                              <a:pt x="8"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4" name="Freeform 2918"/>
                      <p:cNvSpPr>
                        <a:spLocks/>
                      </p:cNvSpPr>
                      <p:nvPr/>
                    </p:nvSpPr>
                    <p:spPr bwMode="auto">
                      <a:xfrm>
                        <a:off x="2474" y="1229"/>
                        <a:ext cx="612" cy="6"/>
                      </a:xfrm>
                      <a:custGeom>
                        <a:avLst/>
                        <a:gdLst/>
                        <a:ahLst/>
                        <a:cxnLst>
                          <a:cxn ang="0">
                            <a:pos x="612" y="0"/>
                          </a:cxn>
                          <a:cxn ang="0">
                            <a:pos x="0" y="2"/>
                          </a:cxn>
                          <a:cxn ang="0">
                            <a:pos x="0" y="6"/>
                          </a:cxn>
                          <a:cxn ang="0">
                            <a:pos x="610" y="4"/>
                          </a:cxn>
                          <a:cxn ang="0">
                            <a:pos x="612" y="0"/>
                          </a:cxn>
                        </a:cxnLst>
                        <a:rect l="0" t="0" r="r" b="b"/>
                        <a:pathLst>
                          <a:path w="612" h="6">
                            <a:moveTo>
                              <a:pt x="612" y="0"/>
                            </a:moveTo>
                            <a:lnTo>
                              <a:pt x="0" y="2"/>
                            </a:lnTo>
                            <a:lnTo>
                              <a:pt x="0" y="6"/>
                            </a:lnTo>
                            <a:lnTo>
                              <a:pt x="610" y="4"/>
                            </a:lnTo>
                            <a:lnTo>
                              <a:pt x="61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5" name="Rectangle 2919"/>
                      <p:cNvSpPr>
                        <a:spLocks noChangeArrowheads="1"/>
                      </p:cNvSpPr>
                      <p:nvPr/>
                    </p:nvSpPr>
                    <p:spPr bwMode="auto">
                      <a:xfrm>
                        <a:off x="2472" y="1231"/>
                        <a:ext cx="2" cy="4"/>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36" name="Freeform 2920"/>
                      <p:cNvSpPr>
                        <a:spLocks/>
                      </p:cNvSpPr>
                      <p:nvPr/>
                    </p:nvSpPr>
                    <p:spPr bwMode="auto">
                      <a:xfrm>
                        <a:off x="3808" y="1181"/>
                        <a:ext cx="14" cy="4"/>
                      </a:xfrm>
                      <a:custGeom>
                        <a:avLst/>
                        <a:gdLst/>
                        <a:ahLst/>
                        <a:cxnLst>
                          <a:cxn ang="0">
                            <a:pos x="4" y="4"/>
                          </a:cxn>
                          <a:cxn ang="0">
                            <a:pos x="14" y="4"/>
                          </a:cxn>
                          <a:cxn ang="0">
                            <a:pos x="4" y="0"/>
                          </a:cxn>
                          <a:cxn ang="0">
                            <a:pos x="0" y="0"/>
                          </a:cxn>
                          <a:cxn ang="0">
                            <a:pos x="0" y="4"/>
                          </a:cxn>
                          <a:cxn ang="0">
                            <a:pos x="4" y="4"/>
                          </a:cxn>
                        </a:cxnLst>
                        <a:rect l="0" t="0" r="r" b="b"/>
                        <a:pathLst>
                          <a:path w="14" h="4">
                            <a:moveTo>
                              <a:pt x="4" y="4"/>
                            </a:moveTo>
                            <a:lnTo>
                              <a:pt x="14" y="4"/>
                            </a:lnTo>
                            <a:lnTo>
                              <a:pt x="4" y="0"/>
                            </a:lnTo>
                            <a:lnTo>
                              <a:pt x="0" y="0"/>
                            </a:lnTo>
                            <a:lnTo>
                              <a:pt x="0" y="4"/>
                            </a:lnTo>
                            <a:lnTo>
                              <a:pt x="4"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7" name="Freeform 2921"/>
                      <p:cNvSpPr>
                        <a:spLocks/>
                      </p:cNvSpPr>
                      <p:nvPr/>
                    </p:nvSpPr>
                    <p:spPr bwMode="auto">
                      <a:xfrm>
                        <a:off x="3540" y="1063"/>
                        <a:ext cx="272" cy="122"/>
                      </a:xfrm>
                      <a:custGeom>
                        <a:avLst/>
                        <a:gdLst/>
                        <a:ahLst/>
                        <a:cxnLst>
                          <a:cxn ang="0">
                            <a:pos x="230" y="84"/>
                          </a:cxn>
                          <a:cxn ang="0">
                            <a:pos x="240" y="122"/>
                          </a:cxn>
                          <a:cxn ang="0">
                            <a:pos x="272" y="122"/>
                          </a:cxn>
                          <a:cxn ang="0">
                            <a:pos x="268" y="122"/>
                          </a:cxn>
                          <a:cxn ang="0">
                            <a:pos x="268" y="118"/>
                          </a:cxn>
                          <a:cxn ang="0">
                            <a:pos x="242" y="118"/>
                          </a:cxn>
                          <a:cxn ang="0">
                            <a:pos x="236" y="80"/>
                          </a:cxn>
                          <a:cxn ang="0">
                            <a:pos x="24" y="52"/>
                          </a:cxn>
                          <a:cxn ang="0">
                            <a:pos x="6" y="0"/>
                          </a:cxn>
                          <a:cxn ang="0">
                            <a:pos x="0" y="0"/>
                          </a:cxn>
                          <a:cxn ang="0">
                            <a:pos x="22" y="58"/>
                          </a:cxn>
                          <a:cxn ang="0">
                            <a:pos x="230" y="84"/>
                          </a:cxn>
                        </a:cxnLst>
                        <a:rect l="0" t="0" r="r" b="b"/>
                        <a:pathLst>
                          <a:path w="272" h="122">
                            <a:moveTo>
                              <a:pt x="230" y="84"/>
                            </a:moveTo>
                            <a:lnTo>
                              <a:pt x="240" y="122"/>
                            </a:lnTo>
                            <a:lnTo>
                              <a:pt x="272" y="122"/>
                            </a:lnTo>
                            <a:lnTo>
                              <a:pt x="268" y="122"/>
                            </a:lnTo>
                            <a:lnTo>
                              <a:pt x="268" y="118"/>
                            </a:lnTo>
                            <a:lnTo>
                              <a:pt x="242" y="118"/>
                            </a:lnTo>
                            <a:lnTo>
                              <a:pt x="236" y="80"/>
                            </a:lnTo>
                            <a:lnTo>
                              <a:pt x="24" y="52"/>
                            </a:lnTo>
                            <a:lnTo>
                              <a:pt x="6" y="0"/>
                            </a:lnTo>
                            <a:lnTo>
                              <a:pt x="0" y="0"/>
                            </a:lnTo>
                            <a:lnTo>
                              <a:pt x="22" y="58"/>
                            </a:lnTo>
                            <a:lnTo>
                              <a:pt x="230" y="8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8" name="Freeform 2922"/>
                      <p:cNvSpPr>
                        <a:spLocks/>
                      </p:cNvSpPr>
                      <p:nvPr/>
                    </p:nvSpPr>
                    <p:spPr bwMode="auto">
                      <a:xfrm>
                        <a:off x="3232" y="1939"/>
                        <a:ext cx="142" cy="762"/>
                      </a:xfrm>
                      <a:custGeom>
                        <a:avLst/>
                        <a:gdLst/>
                        <a:ahLst/>
                        <a:cxnLst>
                          <a:cxn ang="0">
                            <a:pos x="28" y="66"/>
                          </a:cxn>
                          <a:cxn ang="0">
                            <a:pos x="46" y="0"/>
                          </a:cxn>
                          <a:cxn ang="0">
                            <a:pos x="0" y="0"/>
                          </a:cxn>
                          <a:cxn ang="0">
                            <a:pos x="2" y="6"/>
                          </a:cxn>
                          <a:cxn ang="0">
                            <a:pos x="38" y="6"/>
                          </a:cxn>
                          <a:cxn ang="0">
                            <a:pos x="22" y="68"/>
                          </a:cxn>
                          <a:cxn ang="0">
                            <a:pos x="76" y="96"/>
                          </a:cxn>
                          <a:cxn ang="0">
                            <a:pos x="96" y="344"/>
                          </a:cxn>
                          <a:cxn ang="0">
                            <a:pos x="102" y="344"/>
                          </a:cxn>
                          <a:cxn ang="0">
                            <a:pos x="100" y="350"/>
                          </a:cxn>
                          <a:cxn ang="0">
                            <a:pos x="98" y="350"/>
                          </a:cxn>
                          <a:cxn ang="0">
                            <a:pos x="132" y="758"/>
                          </a:cxn>
                          <a:cxn ang="0">
                            <a:pos x="142" y="762"/>
                          </a:cxn>
                          <a:cxn ang="0">
                            <a:pos x="110" y="404"/>
                          </a:cxn>
                          <a:cxn ang="0">
                            <a:pos x="106" y="404"/>
                          </a:cxn>
                          <a:cxn ang="0">
                            <a:pos x="106" y="400"/>
                          </a:cxn>
                          <a:cxn ang="0">
                            <a:pos x="110" y="400"/>
                          </a:cxn>
                          <a:cxn ang="0">
                            <a:pos x="82" y="90"/>
                          </a:cxn>
                          <a:cxn ang="0">
                            <a:pos x="28" y="66"/>
                          </a:cxn>
                        </a:cxnLst>
                        <a:rect l="0" t="0" r="r" b="b"/>
                        <a:pathLst>
                          <a:path w="142" h="762">
                            <a:moveTo>
                              <a:pt x="28" y="66"/>
                            </a:moveTo>
                            <a:lnTo>
                              <a:pt x="46" y="0"/>
                            </a:lnTo>
                            <a:lnTo>
                              <a:pt x="0" y="0"/>
                            </a:lnTo>
                            <a:lnTo>
                              <a:pt x="2" y="6"/>
                            </a:lnTo>
                            <a:lnTo>
                              <a:pt x="38" y="6"/>
                            </a:lnTo>
                            <a:lnTo>
                              <a:pt x="22" y="68"/>
                            </a:lnTo>
                            <a:lnTo>
                              <a:pt x="76" y="96"/>
                            </a:lnTo>
                            <a:lnTo>
                              <a:pt x="96" y="344"/>
                            </a:lnTo>
                            <a:lnTo>
                              <a:pt x="102" y="344"/>
                            </a:lnTo>
                            <a:lnTo>
                              <a:pt x="100" y="350"/>
                            </a:lnTo>
                            <a:lnTo>
                              <a:pt x="98" y="350"/>
                            </a:lnTo>
                            <a:lnTo>
                              <a:pt x="132" y="758"/>
                            </a:lnTo>
                            <a:lnTo>
                              <a:pt x="142" y="762"/>
                            </a:lnTo>
                            <a:lnTo>
                              <a:pt x="110" y="404"/>
                            </a:lnTo>
                            <a:lnTo>
                              <a:pt x="106" y="404"/>
                            </a:lnTo>
                            <a:lnTo>
                              <a:pt x="106" y="400"/>
                            </a:lnTo>
                            <a:lnTo>
                              <a:pt x="110" y="400"/>
                            </a:lnTo>
                            <a:lnTo>
                              <a:pt x="82" y="90"/>
                            </a:lnTo>
                            <a:lnTo>
                              <a:pt x="28" y="6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39" name="Freeform 2923"/>
                      <p:cNvSpPr>
                        <a:spLocks/>
                      </p:cNvSpPr>
                      <p:nvPr/>
                    </p:nvSpPr>
                    <p:spPr bwMode="auto">
                      <a:xfrm>
                        <a:off x="3364" y="2697"/>
                        <a:ext cx="10" cy="8"/>
                      </a:xfrm>
                      <a:custGeom>
                        <a:avLst/>
                        <a:gdLst/>
                        <a:ahLst/>
                        <a:cxnLst>
                          <a:cxn ang="0">
                            <a:pos x="0" y="4"/>
                          </a:cxn>
                          <a:cxn ang="0">
                            <a:pos x="10" y="8"/>
                          </a:cxn>
                          <a:cxn ang="0">
                            <a:pos x="10" y="4"/>
                          </a:cxn>
                          <a:cxn ang="0">
                            <a:pos x="0" y="0"/>
                          </a:cxn>
                          <a:cxn ang="0">
                            <a:pos x="0" y="4"/>
                          </a:cxn>
                        </a:cxnLst>
                        <a:rect l="0" t="0" r="r" b="b"/>
                        <a:pathLst>
                          <a:path w="10" h="8">
                            <a:moveTo>
                              <a:pt x="0" y="4"/>
                            </a:moveTo>
                            <a:lnTo>
                              <a:pt x="10" y="8"/>
                            </a:lnTo>
                            <a:lnTo>
                              <a:pt x="10" y="4"/>
                            </a:lnTo>
                            <a:lnTo>
                              <a:pt x="0" y="0"/>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0" name="Freeform 2924"/>
                      <p:cNvSpPr>
                        <a:spLocks/>
                      </p:cNvSpPr>
                      <p:nvPr/>
                    </p:nvSpPr>
                    <p:spPr bwMode="auto">
                      <a:xfrm>
                        <a:off x="3328" y="2283"/>
                        <a:ext cx="6" cy="6"/>
                      </a:xfrm>
                      <a:custGeom>
                        <a:avLst/>
                        <a:gdLst/>
                        <a:ahLst/>
                        <a:cxnLst>
                          <a:cxn ang="0">
                            <a:pos x="6" y="0"/>
                          </a:cxn>
                          <a:cxn ang="0">
                            <a:pos x="0" y="0"/>
                          </a:cxn>
                          <a:cxn ang="0">
                            <a:pos x="2" y="6"/>
                          </a:cxn>
                          <a:cxn ang="0">
                            <a:pos x="4" y="6"/>
                          </a:cxn>
                          <a:cxn ang="0">
                            <a:pos x="6" y="0"/>
                          </a:cxn>
                        </a:cxnLst>
                        <a:rect l="0" t="0" r="r" b="b"/>
                        <a:pathLst>
                          <a:path w="6" h="6">
                            <a:moveTo>
                              <a:pt x="6" y="0"/>
                            </a:moveTo>
                            <a:lnTo>
                              <a:pt x="0" y="0"/>
                            </a:lnTo>
                            <a:lnTo>
                              <a:pt x="2" y="6"/>
                            </a:lnTo>
                            <a:lnTo>
                              <a:pt x="4" y="6"/>
                            </a:lnTo>
                            <a:lnTo>
                              <a:pt x="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1" name="Freeform 2925"/>
                      <p:cNvSpPr>
                        <a:spLocks/>
                      </p:cNvSpPr>
                      <p:nvPr/>
                    </p:nvSpPr>
                    <p:spPr bwMode="auto">
                      <a:xfrm>
                        <a:off x="3226" y="1939"/>
                        <a:ext cx="8" cy="6"/>
                      </a:xfrm>
                      <a:custGeom>
                        <a:avLst/>
                        <a:gdLst/>
                        <a:ahLst/>
                        <a:cxnLst>
                          <a:cxn ang="0">
                            <a:pos x="0" y="0"/>
                          </a:cxn>
                          <a:cxn ang="0">
                            <a:pos x="0" y="6"/>
                          </a:cxn>
                          <a:cxn ang="0">
                            <a:pos x="8" y="6"/>
                          </a:cxn>
                          <a:cxn ang="0">
                            <a:pos x="6" y="0"/>
                          </a:cxn>
                          <a:cxn ang="0">
                            <a:pos x="0" y="0"/>
                          </a:cxn>
                        </a:cxnLst>
                        <a:rect l="0" t="0" r="r" b="b"/>
                        <a:pathLst>
                          <a:path w="8" h="6">
                            <a:moveTo>
                              <a:pt x="0" y="0"/>
                            </a:moveTo>
                            <a:lnTo>
                              <a:pt x="0" y="6"/>
                            </a:lnTo>
                            <a:lnTo>
                              <a:pt x="8" y="6"/>
                            </a:lnTo>
                            <a:lnTo>
                              <a:pt x="6"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2" name="Freeform 2926"/>
                      <p:cNvSpPr>
                        <a:spLocks/>
                      </p:cNvSpPr>
                      <p:nvPr/>
                    </p:nvSpPr>
                    <p:spPr bwMode="auto">
                      <a:xfrm>
                        <a:off x="5076" y="1971"/>
                        <a:ext cx="4" cy="4"/>
                      </a:xfrm>
                      <a:custGeom>
                        <a:avLst/>
                        <a:gdLst/>
                        <a:ahLst/>
                        <a:cxnLst>
                          <a:cxn ang="0">
                            <a:pos x="4" y="4"/>
                          </a:cxn>
                          <a:cxn ang="0">
                            <a:pos x="2" y="0"/>
                          </a:cxn>
                          <a:cxn ang="0">
                            <a:pos x="0" y="0"/>
                          </a:cxn>
                          <a:cxn ang="0">
                            <a:pos x="2" y="4"/>
                          </a:cxn>
                          <a:cxn ang="0">
                            <a:pos x="4" y="4"/>
                          </a:cxn>
                        </a:cxnLst>
                        <a:rect l="0" t="0" r="r" b="b"/>
                        <a:pathLst>
                          <a:path w="4" h="4">
                            <a:moveTo>
                              <a:pt x="4" y="4"/>
                            </a:moveTo>
                            <a:lnTo>
                              <a:pt x="2" y="0"/>
                            </a:lnTo>
                            <a:lnTo>
                              <a:pt x="0" y="0"/>
                            </a:lnTo>
                            <a:lnTo>
                              <a:pt x="2" y="4"/>
                            </a:lnTo>
                            <a:lnTo>
                              <a:pt x="4"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3" name="Freeform 2927"/>
                      <p:cNvSpPr>
                        <a:spLocks/>
                      </p:cNvSpPr>
                      <p:nvPr/>
                    </p:nvSpPr>
                    <p:spPr bwMode="auto">
                      <a:xfrm>
                        <a:off x="3342" y="1971"/>
                        <a:ext cx="1736" cy="412"/>
                      </a:xfrm>
                      <a:custGeom>
                        <a:avLst/>
                        <a:gdLst/>
                        <a:ahLst/>
                        <a:cxnLst>
                          <a:cxn ang="0">
                            <a:pos x="1024" y="202"/>
                          </a:cxn>
                          <a:cxn ang="0">
                            <a:pos x="1022" y="206"/>
                          </a:cxn>
                          <a:cxn ang="0">
                            <a:pos x="1014" y="210"/>
                          </a:cxn>
                          <a:cxn ang="0">
                            <a:pos x="1018" y="204"/>
                          </a:cxn>
                          <a:cxn ang="0">
                            <a:pos x="756" y="258"/>
                          </a:cxn>
                          <a:cxn ang="0">
                            <a:pos x="476" y="304"/>
                          </a:cxn>
                          <a:cxn ang="0">
                            <a:pos x="454" y="308"/>
                          </a:cxn>
                          <a:cxn ang="0">
                            <a:pos x="454" y="402"/>
                          </a:cxn>
                          <a:cxn ang="0">
                            <a:pos x="374" y="408"/>
                          </a:cxn>
                          <a:cxn ang="0">
                            <a:pos x="390" y="360"/>
                          </a:cxn>
                          <a:cxn ang="0">
                            <a:pos x="0" y="368"/>
                          </a:cxn>
                          <a:cxn ang="0">
                            <a:pos x="0" y="372"/>
                          </a:cxn>
                          <a:cxn ang="0">
                            <a:pos x="384" y="364"/>
                          </a:cxn>
                          <a:cxn ang="0">
                            <a:pos x="366" y="412"/>
                          </a:cxn>
                          <a:cxn ang="0">
                            <a:pos x="450" y="406"/>
                          </a:cxn>
                          <a:cxn ang="0">
                            <a:pos x="450" y="404"/>
                          </a:cxn>
                          <a:cxn ang="0">
                            <a:pos x="454" y="404"/>
                          </a:cxn>
                          <a:cxn ang="0">
                            <a:pos x="454" y="406"/>
                          </a:cxn>
                          <a:cxn ang="0">
                            <a:pos x="456" y="406"/>
                          </a:cxn>
                          <a:cxn ang="0">
                            <a:pos x="456" y="310"/>
                          </a:cxn>
                          <a:cxn ang="0">
                            <a:pos x="478" y="310"/>
                          </a:cxn>
                          <a:cxn ang="0">
                            <a:pos x="756" y="264"/>
                          </a:cxn>
                          <a:cxn ang="0">
                            <a:pos x="1186" y="176"/>
                          </a:cxn>
                          <a:cxn ang="0">
                            <a:pos x="1186" y="176"/>
                          </a:cxn>
                          <a:cxn ang="0">
                            <a:pos x="1188" y="174"/>
                          </a:cxn>
                          <a:cxn ang="0">
                            <a:pos x="1192" y="172"/>
                          </a:cxn>
                          <a:cxn ang="0">
                            <a:pos x="1190" y="174"/>
                          </a:cxn>
                          <a:cxn ang="0">
                            <a:pos x="1736" y="4"/>
                          </a:cxn>
                          <a:cxn ang="0">
                            <a:pos x="1734" y="0"/>
                          </a:cxn>
                          <a:cxn ang="0">
                            <a:pos x="1188" y="172"/>
                          </a:cxn>
                          <a:cxn ang="0">
                            <a:pos x="1024" y="202"/>
                          </a:cxn>
                        </a:cxnLst>
                        <a:rect l="0" t="0" r="r" b="b"/>
                        <a:pathLst>
                          <a:path w="1736" h="412">
                            <a:moveTo>
                              <a:pt x="1024" y="202"/>
                            </a:moveTo>
                            <a:lnTo>
                              <a:pt x="1022" y="206"/>
                            </a:lnTo>
                            <a:lnTo>
                              <a:pt x="1014" y="210"/>
                            </a:lnTo>
                            <a:lnTo>
                              <a:pt x="1018" y="204"/>
                            </a:lnTo>
                            <a:lnTo>
                              <a:pt x="756" y="258"/>
                            </a:lnTo>
                            <a:lnTo>
                              <a:pt x="476" y="304"/>
                            </a:lnTo>
                            <a:lnTo>
                              <a:pt x="454" y="308"/>
                            </a:lnTo>
                            <a:lnTo>
                              <a:pt x="454" y="402"/>
                            </a:lnTo>
                            <a:lnTo>
                              <a:pt x="374" y="408"/>
                            </a:lnTo>
                            <a:lnTo>
                              <a:pt x="390" y="360"/>
                            </a:lnTo>
                            <a:lnTo>
                              <a:pt x="0" y="368"/>
                            </a:lnTo>
                            <a:lnTo>
                              <a:pt x="0" y="372"/>
                            </a:lnTo>
                            <a:lnTo>
                              <a:pt x="384" y="364"/>
                            </a:lnTo>
                            <a:lnTo>
                              <a:pt x="366" y="412"/>
                            </a:lnTo>
                            <a:lnTo>
                              <a:pt x="450" y="406"/>
                            </a:lnTo>
                            <a:lnTo>
                              <a:pt x="450" y="404"/>
                            </a:lnTo>
                            <a:lnTo>
                              <a:pt x="454" y="404"/>
                            </a:lnTo>
                            <a:lnTo>
                              <a:pt x="454" y="406"/>
                            </a:lnTo>
                            <a:lnTo>
                              <a:pt x="456" y="406"/>
                            </a:lnTo>
                            <a:lnTo>
                              <a:pt x="456" y="310"/>
                            </a:lnTo>
                            <a:lnTo>
                              <a:pt x="478" y="310"/>
                            </a:lnTo>
                            <a:lnTo>
                              <a:pt x="756" y="264"/>
                            </a:lnTo>
                            <a:lnTo>
                              <a:pt x="1186" y="176"/>
                            </a:lnTo>
                            <a:lnTo>
                              <a:pt x="1186" y="176"/>
                            </a:lnTo>
                            <a:lnTo>
                              <a:pt x="1188" y="174"/>
                            </a:lnTo>
                            <a:lnTo>
                              <a:pt x="1192" y="172"/>
                            </a:lnTo>
                            <a:lnTo>
                              <a:pt x="1190" y="174"/>
                            </a:lnTo>
                            <a:lnTo>
                              <a:pt x="1736" y="4"/>
                            </a:lnTo>
                            <a:lnTo>
                              <a:pt x="1734" y="0"/>
                            </a:lnTo>
                            <a:lnTo>
                              <a:pt x="1188" y="172"/>
                            </a:lnTo>
                            <a:lnTo>
                              <a:pt x="1024" y="20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4" name="Freeform 2928"/>
                      <p:cNvSpPr>
                        <a:spLocks/>
                      </p:cNvSpPr>
                      <p:nvPr/>
                    </p:nvSpPr>
                    <p:spPr bwMode="auto">
                      <a:xfrm>
                        <a:off x="4528" y="2143"/>
                        <a:ext cx="6" cy="4"/>
                      </a:xfrm>
                      <a:custGeom>
                        <a:avLst/>
                        <a:gdLst/>
                        <a:ahLst/>
                        <a:cxnLst>
                          <a:cxn ang="0">
                            <a:pos x="6" y="0"/>
                          </a:cxn>
                          <a:cxn ang="0">
                            <a:pos x="2" y="2"/>
                          </a:cxn>
                          <a:cxn ang="0">
                            <a:pos x="0" y="4"/>
                          </a:cxn>
                          <a:cxn ang="0">
                            <a:pos x="4" y="2"/>
                          </a:cxn>
                          <a:cxn ang="0">
                            <a:pos x="6" y="0"/>
                          </a:cxn>
                        </a:cxnLst>
                        <a:rect l="0" t="0" r="r" b="b"/>
                        <a:pathLst>
                          <a:path w="6" h="4">
                            <a:moveTo>
                              <a:pt x="6" y="0"/>
                            </a:moveTo>
                            <a:lnTo>
                              <a:pt x="2" y="2"/>
                            </a:lnTo>
                            <a:lnTo>
                              <a:pt x="0" y="4"/>
                            </a:lnTo>
                            <a:lnTo>
                              <a:pt x="4" y="2"/>
                            </a:lnTo>
                            <a:lnTo>
                              <a:pt x="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5" name="Freeform 2929"/>
                      <p:cNvSpPr>
                        <a:spLocks/>
                      </p:cNvSpPr>
                      <p:nvPr/>
                    </p:nvSpPr>
                    <p:spPr bwMode="auto">
                      <a:xfrm>
                        <a:off x="4356" y="2173"/>
                        <a:ext cx="10" cy="8"/>
                      </a:xfrm>
                      <a:custGeom>
                        <a:avLst/>
                        <a:gdLst/>
                        <a:ahLst/>
                        <a:cxnLst>
                          <a:cxn ang="0">
                            <a:pos x="4" y="2"/>
                          </a:cxn>
                          <a:cxn ang="0">
                            <a:pos x="0" y="8"/>
                          </a:cxn>
                          <a:cxn ang="0">
                            <a:pos x="8" y="4"/>
                          </a:cxn>
                          <a:cxn ang="0">
                            <a:pos x="10" y="0"/>
                          </a:cxn>
                          <a:cxn ang="0">
                            <a:pos x="10" y="0"/>
                          </a:cxn>
                          <a:cxn ang="0">
                            <a:pos x="4" y="2"/>
                          </a:cxn>
                        </a:cxnLst>
                        <a:rect l="0" t="0" r="r" b="b"/>
                        <a:pathLst>
                          <a:path w="10" h="8">
                            <a:moveTo>
                              <a:pt x="4" y="2"/>
                            </a:moveTo>
                            <a:lnTo>
                              <a:pt x="0" y="8"/>
                            </a:lnTo>
                            <a:lnTo>
                              <a:pt x="8" y="4"/>
                            </a:lnTo>
                            <a:lnTo>
                              <a:pt x="10" y="0"/>
                            </a:lnTo>
                            <a:lnTo>
                              <a:pt x="10" y="0"/>
                            </a:lnTo>
                            <a:lnTo>
                              <a:pt x="4"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6" name="Rectangle 2930"/>
                      <p:cNvSpPr>
                        <a:spLocks noChangeArrowheads="1"/>
                      </p:cNvSpPr>
                      <p:nvPr/>
                    </p:nvSpPr>
                    <p:spPr bwMode="auto">
                      <a:xfrm>
                        <a:off x="3338" y="2339"/>
                        <a:ext cx="4" cy="4"/>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47" name="Freeform 2931"/>
                      <p:cNvSpPr>
                        <a:spLocks/>
                      </p:cNvSpPr>
                      <p:nvPr/>
                    </p:nvSpPr>
                    <p:spPr bwMode="auto">
                      <a:xfrm>
                        <a:off x="4880" y="2389"/>
                        <a:ext cx="4" cy="6"/>
                      </a:xfrm>
                      <a:custGeom>
                        <a:avLst/>
                        <a:gdLst/>
                        <a:ahLst/>
                        <a:cxnLst>
                          <a:cxn ang="0">
                            <a:pos x="2" y="6"/>
                          </a:cxn>
                          <a:cxn ang="0">
                            <a:pos x="4" y="0"/>
                          </a:cxn>
                          <a:cxn ang="0">
                            <a:pos x="2" y="0"/>
                          </a:cxn>
                          <a:cxn ang="0">
                            <a:pos x="0" y="6"/>
                          </a:cxn>
                          <a:cxn ang="0">
                            <a:pos x="2" y="6"/>
                          </a:cxn>
                        </a:cxnLst>
                        <a:rect l="0" t="0" r="r" b="b"/>
                        <a:pathLst>
                          <a:path w="4" h="6">
                            <a:moveTo>
                              <a:pt x="2" y="6"/>
                            </a:moveTo>
                            <a:lnTo>
                              <a:pt x="4" y="0"/>
                            </a:lnTo>
                            <a:lnTo>
                              <a:pt x="2" y="0"/>
                            </a:lnTo>
                            <a:lnTo>
                              <a:pt x="0" y="6"/>
                            </a:lnTo>
                            <a:lnTo>
                              <a:pt x="2"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8" name="Freeform 2932"/>
                      <p:cNvSpPr>
                        <a:spLocks/>
                      </p:cNvSpPr>
                      <p:nvPr/>
                    </p:nvSpPr>
                    <p:spPr bwMode="auto">
                      <a:xfrm>
                        <a:off x="3904" y="3041"/>
                        <a:ext cx="6" cy="4"/>
                      </a:xfrm>
                      <a:custGeom>
                        <a:avLst/>
                        <a:gdLst/>
                        <a:ahLst/>
                        <a:cxnLst>
                          <a:cxn ang="0">
                            <a:pos x="0" y="4"/>
                          </a:cxn>
                          <a:cxn ang="0">
                            <a:pos x="6" y="2"/>
                          </a:cxn>
                          <a:cxn ang="0">
                            <a:pos x="4" y="0"/>
                          </a:cxn>
                          <a:cxn ang="0">
                            <a:pos x="0" y="0"/>
                          </a:cxn>
                          <a:cxn ang="0">
                            <a:pos x="0" y="4"/>
                          </a:cxn>
                        </a:cxnLst>
                        <a:rect l="0" t="0" r="r" b="b"/>
                        <a:pathLst>
                          <a:path w="6" h="4">
                            <a:moveTo>
                              <a:pt x="0" y="4"/>
                            </a:moveTo>
                            <a:lnTo>
                              <a:pt x="6" y="2"/>
                            </a:lnTo>
                            <a:lnTo>
                              <a:pt x="4" y="0"/>
                            </a:lnTo>
                            <a:lnTo>
                              <a:pt x="0" y="0"/>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49" name="Freeform 2933"/>
                      <p:cNvSpPr>
                        <a:spLocks/>
                      </p:cNvSpPr>
                      <p:nvPr/>
                    </p:nvSpPr>
                    <p:spPr bwMode="auto">
                      <a:xfrm>
                        <a:off x="3418" y="2285"/>
                        <a:ext cx="1464" cy="756"/>
                      </a:xfrm>
                      <a:custGeom>
                        <a:avLst/>
                        <a:gdLst/>
                        <a:ahLst/>
                        <a:cxnLst>
                          <a:cxn ang="0">
                            <a:pos x="1250" y="34"/>
                          </a:cxn>
                          <a:cxn ang="0">
                            <a:pos x="1218" y="0"/>
                          </a:cxn>
                          <a:cxn ang="0">
                            <a:pos x="968" y="98"/>
                          </a:cxn>
                          <a:cxn ang="0">
                            <a:pos x="906" y="108"/>
                          </a:cxn>
                          <a:cxn ang="0">
                            <a:pos x="906" y="108"/>
                          </a:cxn>
                          <a:cxn ang="0">
                            <a:pos x="900" y="112"/>
                          </a:cxn>
                          <a:cxn ang="0">
                            <a:pos x="902" y="108"/>
                          </a:cxn>
                          <a:cxn ang="0">
                            <a:pos x="554" y="166"/>
                          </a:cxn>
                          <a:cxn ang="0">
                            <a:pos x="348" y="186"/>
                          </a:cxn>
                          <a:cxn ang="0">
                            <a:pos x="378" y="92"/>
                          </a:cxn>
                          <a:cxn ang="0">
                            <a:pos x="374" y="92"/>
                          </a:cxn>
                          <a:cxn ang="0">
                            <a:pos x="270" y="410"/>
                          </a:cxn>
                          <a:cxn ang="0">
                            <a:pos x="280" y="450"/>
                          </a:cxn>
                          <a:cxn ang="0">
                            <a:pos x="0" y="470"/>
                          </a:cxn>
                          <a:cxn ang="0">
                            <a:pos x="0" y="474"/>
                          </a:cxn>
                          <a:cxn ang="0">
                            <a:pos x="280" y="454"/>
                          </a:cxn>
                          <a:cxn ang="0">
                            <a:pos x="310" y="544"/>
                          </a:cxn>
                          <a:cxn ang="0">
                            <a:pos x="276" y="694"/>
                          </a:cxn>
                          <a:cxn ang="0">
                            <a:pos x="448" y="684"/>
                          </a:cxn>
                          <a:cxn ang="0">
                            <a:pos x="486" y="756"/>
                          </a:cxn>
                          <a:cxn ang="0">
                            <a:pos x="490" y="756"/>
                          </a:cxn>
                          <a:cxn ang="0">
                            <a:pos x="452" y="678"/>
                          </a:cxn>
                          <a:cxn ang="0">
                            <a:pos x="280" y="692"/>
                          </a:cxn>
                          <a:cxn ang="0">
                            <a:pos x="312" y="542"/>
                          </a:cxn>
                          <a:cxn ang="0">
                            <a:pos x="274" y="410"/>
                          </a:cxn>
                          <a:cxn ang="0">
                            <a:pos x="348" y="192"/>
                          </a:cxn>
                          <a:cxn ang="0">
                            <a:pos x="552" y="170"/>
                          </a:cxn>
                          <a:cxn ang="0">
                            <a:pos x="780" y="134"/>
                          </a:cxn>
                          <a:cxn ang="0">
                            <a:pos x="780" y="132"/>
                          </a:cxn>
                          <a:cxn ang="0">
                            <a:pos x="786" y="130"/>
                          </a:cxn>
                          <a:cxn ang="0">
                            <a:pos x="786" y="132"/>
                          </a:cxn>
                          <a:cxn ang="0">
                            <a:pos x="968" y="102"/>
                          </a:cxn>
                          <a:cxn ang="0">
                            <a:pos x="1218" y="6"/>
                          </a:cxn>
                          <a:cxn ang="0">
                            <a:pos x="1248" y="38"/>
                          </a:cxn>
                          <a:cxn ang="0">
                            <a:pos x="1330" y="22"/>
                          </a:cxn>
                          <a:cxn ang="0">
                            <a:pos x="1462" y="110"/>
                          </a:cxn>
                          <a:cxn ang="0">
                            <a:pos x="1464" y="104"/>
                          </a:cxn>
                          <a:cxn ang="0">
                            <a:pos x="1330" y="16"/>
                          </a:cxn>
                          <a:cxn ang="0">
                            <a:pos x="1250" y="34"/>
                          </a:cxn>
                        </a:cxnLst>
                        <a:rect l="0" t="0" r="r" b="b"/>
                        <a:pathLst>
                          <a:path w="1464" h="756">
                            <a:moveTo>
                              <a:pt x="1250" y="34"/>
                            </a:moveTo>
                            <a:lnTo>
                              <a:pt x="1218" y="0"/>
                            </a:lnTo>
                            <a:lnTo>
                              <a:pt x="968" y="98"/>
                            </a:lnTo>
                            <a:lnTo>
                              <a:pt x="906" y="108"/>
                            </a:lnTo>
                            <a:lnTo>
                              <a:pt x="906" y="108"/>
                            </a:lnTo>
                            <a:lnTo>
                              <a:pt x="900" y="112"/>
                            </a:lnTo>
                            <a:lnTo>
                              <a:pt x="902" y="108"/>
                            </a:lnTo>
                            <a:lnTo>
                              <a:pt x="554" y="166"/>
                            </a:lnTo>
                            <a:lnTo>
                              <a:pt x="348" y="186"/>
                            </a:lnTo>
                            <a:lnTo>
                              <a:pt x="378" y="92"/>
                            </a:lnTo>
                            <a:lnTo>
                              <a:pt x="374" y="92"/>
                            </a:lnTo>
                            <a:lnTo>
                              <a:pt x="270" y="410"/>
                            </a:lnTo>
                            <a:lnTo>
                              <a:pt x="280" y="450"/>
                            </a:lnTo>
                            <a:lnTo>
                              <a:pt x="0" y="470"/>
                            </a:lnTo>
                            <a:lnTo>
                              <a:pt x="0" y="474"/>
                            </a:lnTo>
                            <a:lnTo>
                              <a:pt x="280" y="454"/>
                            </a:lnTo>
                            <a:lnTo>
                              <a:pt x="310" y="544"/>
                            </a:lnTo>
                            <a:lnTo>
                              <a:pt x="276" y="694"/>
                            </a:lnTo>
                            <a:lnTo>
                              <a:pt x="448" y="684"/>
                            </a:lnTo>
                            <a:lnTo>
                              <a:pt x="486" y="756"/>
                            </a:lnTo>
                            <a:lnTo>
                              <a:pt x="490" y="756"/>
                            </a:lnTo>
                            <a:lnTo>
                              <a:pt x="452" y="678"/>
                            </a:lnTo>
                            <a:lnTo>
                              <a:pt x="280" y="692"/>
                            </a:lnTo>
                            <a:lnTo>
                              <a:pt x="312" y="542"/>
                            </a:lnTo>
                            <a:lnTo>
                              <a:pt x="274" y="410"/>
                            </a:lnTo>
                            <a:lnTo>
                              <a:pt x="348" y="192"/>
                            </a:lnTo>
                            <a:lnTo>
                              <a:pt x="552" y="170"/>
                            </a:lnTo>
                            <a:lnTo>
                              <a:pt x="780" y="134"/>
                            </a:lnTo>
                            <a:lnTo>
                              <a:pt x="780" y="132"/>
                            </a:lnTo>
                            <a:lnTo>
                              <a:pt x="786" y="130"/>
                            </a:lnTo>
                            <a:lnTo>
                              <a:pt x="786" y="132"/>
                            </a:lnTo>
                            <a:lnTo>
                              <a:pt x="968" y="102"/>
                            </a:lnTo>
                            <a:lnTo>
                              <a:pt x="1218" y="6"/>
                            </a:lnTo>
                            <a:lnTo>
                              <a:pt x="1248" y="38"/>
                            </a:lnTo>
                            <a:lnTo>
                              <a:pt x="1330" y="22"/>
                            </a:lnTo>
                            <a:lnTo>
                              <a:pt x="1462" y="110"/>
                            </a:lnTo>
                            <a:lnTo>
                              <a:pt x="1464" y="104"/>
                            </a:lnTo>
                            <a:lnTo>
                              <a:pt x="1330" y="16"/>
                            </a:lnTo>
                            <a:lnTo>
                              <a:pt x="1250" y="3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0" name="Rectangle 2934"/>
                      <p:cNvSpPr>
                        <a:spLocks noChangeArrowheads="1"/>
                      </p:cNvSpPr>
                      <p:nvPr/>
                    </p:nvSpPr>
                    <p:spPr bwMode="auto">
                      <a:xfrm>
                        <a:off x="3410" y="2759"/>
                        <a:ext cx="1"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51" name="Freeform 2935"/>
                      <p:cNvSpPr>
                        <a:spLocks/>
                      </p:cNvSpPr>
                      <p:nvPr/>
                    </p:nvSpPr>
                    <p:spPr bwMode="auto">
                      <a:xfrm>
                        <a:off x="4318" y="2393"/>
                        <a:ext cx="6" cy="4"/>
                      </a:xfrm>
                      <a:custGeom>
                        <a:avLst/>
                        <a:gdLst/>
                        <a:ahLst/>
                        <a:cxnLst>
                          <a:cxn ang="0">
                            <a:pos x="0" y="4"/>
                          </a:cxn>
                          <a:cxn ang="0">
                            <a:pos x="6" y="0"/>
                          </a:cxn>
                          <a:cxn ang="0">
                            <a:pos x="6" y="0"/>
                          </a:cxn>
                          <a:cxn ang="0">
                            <a:pos x="2" y="0"/>
                          </a:cxn>
                          <a:cxn ang="0">
                            <a:pos x="0" y="4"/>
                          </a:cxn>
                        </a:cxnLst>
                        <a:rect l="0" t="0" r="r" b="b"/>
                        <a:pathLst>
                          <a:path w="6" h="4">
                            <a:moveTo>
                              <a:pt x="0" y="4"/>
                            </a:moveTo>
                            <a:lnTo>
                              <a:pt x="6" y="0"/>
                            </a:lnTo>
                            <a:lnTo>
                              <a:pt x="6" y="0"/>
                            </a:lnTo>
                            <a:lnTo>
                              <a:pt x="2" y="0"/>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2" name="Freeform 2936"/>
                      <p:cNvSpPr>
                        <a:spLocks/>
                      </p:cNvSpPr>
                      <p:nvPr/>
                    </p:nvSpPr>
                    <p:spPr bwMode="auto">
                      <a:xfrm>
                        <a:off x="3410" y="2755"/>
                        <a:ext cx="8" cy="4"/>
                      </a:xfrm>
                      <a:custGeom>
                        <a:avLst/>
                        <a:gdLst/>
                        <a:ahLst/>
                        <a:cxnLst>
                          <a:cxn ang="0">
                            <a:pos x="0" y="4"/>
                          </a:cxn>
                          <a:cxn ang="0">
                            <a:pos x="0" y="4"/>
                          </a:cxn>
                          <a:cxn ang="0">
                            <a:pos x="8" y="4"/>
                          </a:cxn>
                          <a:cxn ang="0">
                            <a:pos x="8" y="0"/>
                          </a:cxn>
                          <a:cxn ang="0">
                            <a:pos x="0" y="0"/>
                          </a:cxn>
                          <a:cxn ang="0">
                            <a:pos x="0" y="4"/>
                          </a:cxn>
                        </a:cxnLst>
                        <a:rect l="0" t="0" r="r" b="b"/>
                        <a:pathLst>
                          <a:path w="8" h="4">
                            <a:moveTo>
                              <a:pt x="0" y="4"/>
                            </a:moveTo>
                            <a:lnTo>
                              <a:pt x="0" y="4"/>
                            </a:lnTo>
                            <a:lnTo>
                              <a:pt x="8" y="4"/>
                            </a:lnTo>
                            <a:lnTo>
                              <a:pt x="8" y="0"/>
                            </a:lnTo>
                            <a:lnTo>
                              <a:pt x="0" y="0"/>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3" name="Rectangle 2937"/>
                      <p:cNvSpPr>
                        <a:spLocks noChangeArrowheads="1"/>
                      </p:cNvSpPr>
                      <p:nvPr/>
                    </p:nvSpPr>
                    <p:spPr bwMode="auto">
                      <a:xfrm>
                        <a:off x="3792" y="2375"/>
                        <a:ext cx="4" cy="2"/>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54" name="Freeform 2938"/>
                      <p:cNvSpPr>
                        <a:spLocks/>
                      </p:cNvSpPr>
                      <p:nvPr/>
                    </p:nvSpPr>
                    <p:spPr bwMode="auto">
                      <a:xfrm>
                        <a:off x="4106" y="2997"/>
                        <a:ext cx="6" cy="4"/>
                      </a:xfrm>
                      <a:custGeom>
                        <a:avLst/>
                        <a:gdLst/>
                        <a:ahLst/>
                        <a:cxnLst>
                          <a:cxn ang="0">
                            <a:pos x="0" y="4"/>
                          </a:cxn>
                          <a:cxn ang="0">
                            <a:pos x="6" y="4"/>
                          </a:cxn>
                          <a:cxn ang="0">
                            <a:pos x="4" y="0"/>
                          </a:cxn>
                          <a:cxn ang="0">
                            <a:pos x="0" y="2"/>
                          </a:cxn>
                          <a:cxn ang="0">
                            <a:pos x="0" y="4"/>
                          </a:cxn>
                        </a:cxnLst>
                        <a:rect l="0" t="0" r="r" b="b"/>
                        <a:pathLst>
                          <a:path w="6" h="4">
                            <a:moveTo>
                              <a:pt x="0" y="4"/>
                            </a:moveTo>
                            <a:lnTo>
                              <a:pt x="6" y="4"/>
                            </a:lnTo>
                            <a:lnTo>
                              <a:pt x="4" y="0"/>
                            </a:lnTo>
                            <a:lnTo>
                              <a:pt x="0" y="2"/>
                            </a:lnTo>
                            <a:lnTo>
                              <a:pt x="0"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5" name="Freeform 2939"/>
                      <p:cNvSpPr>
                        <a:spLocks/>
                      </p:cNvSpPr>
                      <p:nvPr/>
                    </p:nvSpPr>
                    <p:spPr bwMode="auto">
                      <a:xfrm>
                        <a:off x="4062" y="2417"/>
                        <a:ext cx="668" cy="582"/>
                      </a:xfrm>
                      <a:custGeom>
                        <a:avLst/>
                        <a:gdLst/>
                        <a:ahLst/>
                        <a:cxnLst>
                          <a:cxn ang="0">
                            <a:pos x="278" y="474"/>
                          </a:cxn>
                          <a:cxn ang="0">
                            <a:pos x="280" y="486"/>
                          </a:cxn>
                          <a:cxn ang="0">
                            <a:pos x="302" y="516"/>
                          </a:cxn>
                          <a:cxn ang="0">
                            <a:pos x="562" y="474"/>
                          </a:cxn>
                          <a:cxn ang="0">
                            <a:pos x="604" y="488"/>
                          </a:cxn>
                          <a:cxn ang="0">
                            <a:pos x="604" y="438"/>
                          </a:cxn>
                          <a:cxn ang="0">
                            <a:pos x="668" y="438"/>
                          </a:cxn>
                          <a:cxn ang="0">
                            <a:pos x="668" y="430"/>
                          </a:cxn>
                          <a:cxn ang="0">
                            <a:pos x="598" y="432"/>
                          </a:cxn>
                          <a:cxn ang="0">
                            <a:pos x="598" y="480"/>
                          </a:cxn>
                          <a:cxn ang="0">
                            <a:pos x="564" y="468"/>
                          </a:cxn>
                          <a:cxn ang="0">
                            <a:pos x="302" y="510"/>
                          </a:cxn>
                          <a:cxn ang="0">
                            <a:pos x="284" y="486"/>
                          </a:cxn>
                          <a:cxn ang="0">
                            <a:pos x="262" y="330"/>
                          </a:cxn>
                          <a:cxn ang="0">
                            <a:pos x="142" y="0"/>
                          </a:cxn>
                          <a:cxn ang="0">
                            <a:pos x="136" y="2"/>
                          </a:cxn>
                          <a:cxn ang="0">
                            <a:pos x="260" y="332"/>
                          </a:cxn>
                          <a:cxn ang="0">
                            <a:pos x="278" y="468"/>
                          </a:cxn>
                          <a:cxn ang="0">
                            <a:pos x="0" y="492"/>
                          </a:cxn>
                          <a:cxn ang="0">
                            <a:pos x="44" y="582"/>
                          </a:cxn>
                          <a:cxn ang="0">
                            <a:pos x="48" y="580"/>
                          </a:cxn>
                          <a:cxn ang="0">
                            <a:pos x="4" y="494"/>
                          </a:cxn>
                          <a:cxn ang="0">
                            <a:pos x="278" y="474"/>
                          </a:cxn>
                        </a:cxnLst>
                        <a:rect l="0" t="0" r="r" b="b"/>
                        <a:pathLst>
                          <a:path w="668" h="582">
                            <a:moveTo>
                              <a:pt x="278" y="474"/>
                            </a:moveTo>
                            <a:lnTo>
                              <a:pt x="280" y="486"/>
                            </a:lnTo>
                            <a:lnTo>
                              <a:pt x="302" y="516"/>
                            </a:lnTo>
                            <a:lnTo>
                              <a:pt x="562" y="474"/>
                            </a:lnTo>
                            <a:lnTo>
                              <a:pt x="604" y="488"/>
                            </a:lnTo>
                            <a:lnTo>
                              <a:pt x="604" y="438"/>
                            </a:lnTo>
                            <a:lnTo>
                              <a:pt x="668" y="438"/>
                            </a:lnTo>
                            <a:lnTo>
                              <a:pt x="668" y="430"/>
                            </a:lnTo>
                            <a:lnTo>
                              <a:pt x="598" y="432"/>
                            </a:lnTo>
                            <a:lnTo>
                              <a:pt x="598" y="480"/>
                            </a:lnTo>
                            <a:lnTo>
                              <a:pt x="564" y="468"/>
                            </a:lnTo>
                            <a:lnTo>
                              <a:pt x="302" y="510"/>
                            </a:lnTo>
                            <a:lnTo>
                              <a:pt x="284" y="486"/>
                            </a:lnTo>
                            <a:lnTo>
                              <a:pt x="262" y="330"/>
                            </a:lnTo>
                            <a:lnTo>
                              <a:pt x="142" y="0"/>
                            </a:lnTo>
                            <a:lnTo>
                              <a:pt x="136" y="2"/>
                            </a:lnTo>
                            <a:lnTo>
                              <a:pt x="260" y="332"/>
                            </a:lnTo>
                            <a:lnTo>
                              <a:pt x="278" y="468"/>
                            </a:lnTo>
                            <a:lnTo>
                              <a:pt x="0" y="492"/>
                            </a:lnTo>
                            <a:lnTo>
                              <a:pt x="44" y="582"/>
                            </a:lnTo>
                            <a:lnTo>
                              <a:pt x="48" y="580"/>
                            </a:lnTo>
                            <a:lnTo>
                              <a:pt x="4" y="494"/>
                            </a:lnTo>
                            <a:lnTo>
                              <a:pt x="278" y="47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6" name="Freeform 2940"/>
                      <p:cNvSpPr>
                        <a:spLocks/>
                      </p:cNvSpPr>
                      <p:nvPr/>
                    </p:nvSpPr>
                    <p:spPr bwMode="auto">
                      <a:xfrm>
                        <a:off x="4198" y="2415"/>
                        <a:ext cx="6" cy="4"/>
                      </a:xfrm>
                      <a:custGeom>
                        <a:avLst/>
                        <a:gdLst/>
                        <a:ahLst/>
                        <a:cxnLst>
                          <a:cxn ang="0">
                            <a:pos x="6" y="0"/>
                          </a:cxn>
                          <a:cxn ang="0">
                            <a:pos x="0" y="2"/>
                          </a:cxn>
                          <a:cxn ang="0">
                            <a:pos x="0" y="4"/>
                          </a:cxn>
                          <a:cxn ang="0">
                            <a:pos x="6" y="2"/>
                          </a:cxn>
                          <a:cxn ang="0">
                            <a:pos x="6" y="0"/>
                          </a:cxn>
                        </a:cxnLst>
                        <a:rect l="0" t="0" r="r" b="b"/>
                        <a:pathLst>
                          <a:path w="6" h="4">
                            <a:moveTo>
                              <a:pt x="6" y="0"/>
                            </a:moveTo>
                            <a:lnTo>
                              <a:pt x="0" y="2"/>
                            </a:lnTo>
                            <a:lnTo>
                              <a:pt x="0" y="4"/>
                            </a:lnTo>
                            <a:lnTo>
                              <a:pt x="6" y="2"/>
                            </a:lnTo>
                            <a:lnTo>
                              <a:pt x="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7" name="Freeform 2941"/>
                      <p:cNvSpPr>
                        <a:spLocks/>
                      </p:cNvSpPr>
                      <p:nvPr/>
                    </p:nvSpPr>
                    <p:spPr bwMode="auto">
                      <a:xfrm>
                        <a:off x="4750" y="2669"/>
                        <a:ext cx="4" cy="6"/>
                      </a:xfrm>
                      <a:custGeom>
                        <a:avLst/>
                        <a:gdLst/>
                        <a:ahLst/>
                        <a:cxnLst>
                          <a:cxn ang="0">
                            <a:pos x="2" y="6"/>
                          </a:cxn>
                          <a:cxn ang="0">
                            <a:pos x="4" y="2"/>
                          </a:cxn>
                          <a:cxn ang="0">
                            <a:pos x="2" y="0"/>
                          </a:cxn>
                          <a:cxn ang="0">
                            <a:pos x="0" y="2"/>
                          </a:cxn>
                          <a:cxn ang="0">
                            <a:pos x="2" y="6"/>
                          </a:cxn>
                        </a:cxnLst>
                        <a:rect l="0" t="0" r="r" b="b"/>
                        <a:pathLst>
                          <a:path w="4" h="6">
                            <a:moveTo>
                              <a:pt x="2" y="6"/>
                            </a:moveTo>
                            <a:lnTo>
                              <a:pt x="4" y="2"/>
                            </a:lnTo>
                            <a:lnTo>
                              <a:pt x="2" y="0"/>
                            </a:lnTo>
                            <a:lnTo>
                              <a:pt x="0" y="2"/>
                            </a:lnTo>
                            <a:lnTo>
                              <a:pt x="2"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8" name="Freeform 2942"/>
                      <p:cNvSpPr>
                        <a:spLocks/>
                      </p:cNvSpPr>
                      <p:nvPr/>
                    </p:nvSpPr>
                    <p:spPr bwMode="auto">
                      <a:xfrm>
                        <a:off x="4436" y="2359"/>
                        <a:ext cx="316" cy="312"/>
                      </a:xfrm>
                      <a:custGeom>
                        <a:avLst/>
                        <a:gdLst/>
                        <a:ahLst/>
                        <a:cxnLst>
                          <a:cxn ang="0">
                            <a:pos x="54" y="50"/>
                          </a:cxn>
                          <a:cxn ang="0">
                            <a:pos x="6" y="54"/>
                          </a:cxn>
                          <a:cxn ang="0">
                            <a:pos x="28" y="0"/>
                          </a:cxn>
                          <a:cxn ang="0">
                            <a:pos x="22" y="2"/>
                          </a:cxn>
                          <a:cxn ang="0">
                            <a:pos x="0" y="56"/>
                          </a:cxn>
                          <a:cxn ang="0">
                            <a:pos x="52" y="54"/>
                          </a:cxn>
                          <a:cxn ang="0">
                            <a:pos x="52" y="88"/>
                          </a:cxn>
                          <a:cxn ang="0">
                            <a:pos x="314" y="312"/>
                          </a:cxn>
                          <a:cxn ang="0">
                            <a:pos x="316" y="310"/>
                          </a:cxn>
                          <a:cxn ang="0">
                            <a:pos x="54" y="86"/>
                          </a:cxn>
                          <a:cxn ang="0">
                            <a:pos x="54" y="50"/>
                          </a:cxn>
                        </a:cxnLst>
                        <a:rect l="0" t="0" r="r" b="b"/>
                        <a:pathLst>
                          <a:path w="316" h="312">
                            <a:moveTo>
                              <a:pt x="54" y="50"/>
                            </a:moveTo>
                            <a:lnTo>
                              <a:pt x="6" y="54"/>
                            </a:lnTo>
                            <a:lnTo>
                              <a:pt x="28" y="0"/>
                            </a:lnTo>
                            <a:lnTo>
                              <a:pt x="22" y="2"/>
                            </a:lnTo>
                            <a:lnTo>
                              <a:pt x="0" y="56"/>
                            </a:lnTo>
                            <a:lnTo>
                              <a:pt x="52" y="54"/>
                            </a:lnTo>
                            <a:lnTo>
                              <a:pt x="52" y="88"/>
                            </a:lnTo>
                            <a:lnTo>
                              <a:pt x="314" y="312"/>
                            </a:lnTo>
                            <a:lnTo>
                              <a:pt x="316" y="310"/>
                            </a:lnTo>
                            <a:lnTo>
                              <a:pt x="54" y="86"/>
                            </a:lnTo>
                            <a:lnTo>
                              <a:pt x="54" y="5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59" name="Freeform 2943"/>
                      <p:cNvSpPr>
                        <a:spLocks/>
                      </p:cNvSpPr>
                      <p:nvPr/>
                    </p:nvSpPr>
                    <p:spPr bwMode="auto">
                      <a:xfrm>
                        <a:off x="4258" y="1551"/>
                        <a:ext cx="12" cy="4"/>
                      </a:xfrm>
                      <a:custGeom>
                        <a:avLst/>
                        <a:gdLst/>
                        <a:ahLst/>
                        <a:cxnLst>
                          <a:cxn ang="0">
                            <a:pos x="12" y="2"/>
                          </a:cxn>
                          <a:cxn ang="0">
                            <a:pos x="6" y="0"/>
                          </a:cxn>
                          <a:cxn ang="0">
                            <a:pos x="0" y="2"/>
                          </a:cxn>
                          <a:cxn ang="0">
                            <a:pos x="6" y="4"/>
                          </a:cxn>
                          <a:cxn ang="0">
                            <a:pos x="12" y="2"/>
                          </a:cxn>
                        </a:cxnLst>
                        <a:rect l="0" t="0" r="r" b="b"/>
                        <a:pathLst>
                          <a:path w="12" h="4">
                            <a:moveTo>
                              <a:pt x="12" y="2"/>
                            </a:moveTo>
                            <a:lnTo>
                              <a:pt x="6" y="0"/>
                            </a:lnTo>
                            <a:lnTo>
                              <a:pt x="0" y="2"/>
                            </a:lnTo>
                            <a:lnTo>
                              <a:pt x="6" y="4"/>
                            </a:lnTo>
                            <a:lnTo>
                              <a:pt x="12"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0" name="Freeform 2944"/>
                      <p:cNvSpPr>
                        <a:spLocks/>
                      </p:cNvSpPr>
                      <p:nvPr/>
                    </p:nvSpPr>
                    <p:spPr bwMode="auto">
                      <a:xfrm>
                        <a:off x="3924" y="1599"/>
                        <a:ext cx="8" cy="6"/>
                      </a:xfrm>
                      <a:custGeom>
                        <a:avLst/>
                        <a:gdLst/>
                        <a:ahLst/>
                        <a:cxnLst>
                          <a:cxn ang="0">
                            <a:pos x="6" y="0"/>
                          </a:cxn>
                          <a:cxn ang="0">
                            <a:pos x="0" y="6"/>
                          </a:cxn>
                          <a:cxn ang="0">
                            <a:pos x="2" y="6"/>
                          </a:cxn>
                          <a:cxn ang="0">
                            <a:pos x="8" y="0"/>
                          </a:cxn>
                          <a:cxn ang="0">
                            <a:pos x="6" y="0"/>
                          </a:cxn>
                        </a:cxnLst>
                        <a:rect l="0" t="0" r="r" b="b"/>
                        <a:pathLst>
                          <a:path w="8" h="6">
                            <a:moveTo>
                              <a:pt x="6" y="0"/>
                            </a:moveTo>
                            <a:lnTo>
                              <a:pt x="0" y="6"/>
                            </a:lnTo>
                            <a:lnTo>
                              <a:pt x="2" y="6"/>
                            </a:lnTo>
                            <a:lnTo>
                              <a:pt x="8" y="0"/>
                            </a:lnTo>
                            <a:lnTo>
                              <a:pt x="6"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1" name="Freeform 2945"/>
                      <p:cNvSpPr>
                        <a:spLocks/>
                      </p:cNvSpPr>
                      <p:nvPr/>
                    </p:nvSpPr>
                    <p:spPr bwMode="auto">
                      <a:xfrm>
                        <a:off x="3926" y="1553"/>
                        <a:ext cx="338" cy="342"/>
                      </a:xfrm>
                      <a:custGeom>
                        <a:avLst/>
                        <a:gdLst/>
                        <a:ahLst/>
                        <a:cxnLst>
                          <a:cxn ang="0">
                            <a:pos x="258" y="342"/>
                          </a:cxn>
                          <a:cxn ang="0">
                            <a:pos x="258" y="340"/>
                          </a:cxn>
                          <a:cxn ang="0">
                            <a:pos x="262" y="340"/>
                          </a:cxn>
                          <a:cxn ang="0">
                            <a:pos x="196" y="46"/>
                          </a:cxn>
                          <a:cxn ang="0">
                            <a:pos x="338" y="2"/>
                          </a:cxn>
                          <a:cxn ang="0">
                            <a:pos x="332" y="0"/>
                          </a:cxn>
                          <a:cxn ang="0">
                            <a:pos x="194" y="42"/>
                          </a:cxn>
                          <a:cxn ang="0">
                            <a:pos x="6" y="46"/>
                          </a:cxn>
                          <a:cxn ang="0">
                            <a:pos x="0" y="52"/>
                          </a:cxn>
                          <a:cxn ang="0">
                            <a:pos x="190" y="46"/>
                          </a:cxn>
                          <a:cxn ang="0">
                            <a:pos x="258" y="342"/>
                          </a:cxn>
                        </a:cxnLst>
                        <a:rect l="0" t="0" r="r" b="b"/>
                        <a:pathLst>
                          <a:path w="338" h="342">
                            <a:moveTo>
                              <a:pt x="258" y="342"/>
                            </a:moveTo>
                            <a:lnTo>
                              <a:pt x="258" y="340"/>
                            </a:lnTo>
                            <a:lnTo>
                              <a:pt x="262" y="340"/>
                            </a:lnTo>
                            <a:lnTo>
                              <a:pt x="196" y="46"/>
                            </a:lnTo>
                            <a:lnTo>
                              <a:pt x="338" y="2"/>
                            </a:lnTo>
                            <a:lnTo>
                              <a:pt x="332" y="0"/>
                            </a:lnTo>
                            <a:lnTo>
                              <a:pt x="194" y="42"/>
                            </a:lnTo>
                            <a:lnTo>
                              <a:pt x="6" y="46"/>
                            </a:lnTo>
                            <a:lnTo>
                              <a:pt x="0" y="52"/>
                            </a:lnTo>
                            <a:lnTo>
                              <a:pt x="190" y="46"/>
                            </a:lnTo>
                            <a:lnTo>
                              <a:pt x="258" y="34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2" name="Freeform 2946"/>
                      <p:cNvSpPr>
                        <a:spLocks/>
                      </p:cNvSpPr>
                      <p:nvPr/>
                    </p:nvSpPr>
                    <p:spPr bwMode="auto">
                      <a:xfrm>
                        <a:off x="3914" y="1897"/>
                        <a:ext cx="278" cy="234"/>
                      </a:xfrm>
                      <a:custGeom>
                        <a:avLst/>
                        <a:gdLst/>
                        <a:ahLst/>
                        <a:cxnLst>
                          <a:cxn ang="0">
                            <a:pos x="274" y="12"/>
                          </a:cxn>
                          <a:cxn ang="0">
                            <a:pos x="236" y="52"/>
                          </a:cxn>
                          <a:cxn ang="0">
                            <a:pos x="186" y="160"/>
                          </a:cxn>
                          <a:cxn ang="0">
                            <a:pos x="158" y="146"/>
                          </a:cxn>
                          <a:cxn ang="0">
                            <a:pos x="78" y="200"/>
                          </a:cxn>
                          <a:cxn ang="0">
                            <a:pos x="54" y="186"/>
                          </a:cxn>
                          <a:cxn ang="0">
                            <a:pos x="0" y="230"/>
                          </a:cxn>
                          <a:cxn ang="0">
                            <a:pos x="0" y="234"/>
                          </a:cxn>
                          <a:cxn ang="0">
                            <a:pos x="54" y="190"/>
                          </a:cxn>
                          <a:cxn ang="0">
                            <a:pos x="78" y="206"/>
                          </a:cxn>
                          <a:cxn ang="0">
                            <a:pos x="158" y="150"/>
                          </a:cxn>
                          <a:cxn ang="0">
                            <a:pos x="188" y="164"/>
                          </a:cxn>
                          <a:cxn ang="0">
                            <a:pos x="238" y="54"/>
                          </a:cxn>
                          <a:cxn ang="0">
                            <a:pos x="278" y="14"/>
                          </a:cxn>
                          <a:cxn ang="0">
                            <a:pos x="274" y="2"/>
                          </a:cxn>
                          <a:cxn ang="0">
                            <a:pos x="270" y="0"/>
                          </a:cxn>
                          <a:cxn ang="0">
                            <a:pos x="274" y="12"/>
                          </a:cxn>
                        </a:cxnLst>
                        <a:rect l="0" t="0" r="r" b="b"/>
                        <a:pathLst>
                          <a:path w="278" h="234">
                            <a:moveTo>
                              <a:pt x="274" y="12"/>
                            </a:moveTo>
                            <a:lnTo>
                              <a:pt x="236" y="52"/>
                            </a:lnTo>
                            <a:lnTo>
                              <a:pt x="186" y="160"/>
                            </a:lnTo>
                            <a:lnTo>
                              <a:pt x="158" y="146"/>
                            </a:lnTo>
                            <a:lnTo>
                              <a:pt x="78" y="200"/>
                            </a:lnTo>
                            <a:lnTo>
                              <a:pt x="54" y="186"/>
                            </a:lnTo>
                            <a:lnTo>
                              <a:pt x="0" y="230"/>
                            </a:lnTo>
                            <a:lnTo>
                              <a:pt x="0" y="234"/>
                            </a:lnTo>
                            <a:lnTo>
                              <a:pt x="54" y="190"/>
                            </a:lnTo>
                            <a:lnTo>
                              <a:pt x="78" y="206"/>
                            </a:lnTo>
                            <a:lnTo>
                              <a:pt x="158" y="150"/>
                            </a:lnTo>
                            <a:lnTo>
                              <a:pt x="188" y="164"/>
                            </a:lnTo>
                            <a:lnTo>
                              <a:pt x="238" y="54"/>
                            </a:lnTo>
                            <a:lnTo>
                              <a:pt x="278" y="14"/>
                            </a:lnTo>
                            <a:lnTo>
                              <a:pt x="274" y="2"/>
                            </a:lnTo>
                            <a:lnTo>
                              <a:pt x="270" y="0"/>
                            </a:lnTo>
                            <a:lnTo>
                              <a:pt x="274" y="1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3" name="Freeform 2947"/>
                      <p:cNvSpPr>
                        <a:spLocks/>
                      </p:cNvSpPr>
                      <p:nvPr/>
                    </p:nvSpPr>
                    <p:spPr bwMode="auto">
                      <a:xfrm>
                        <a:off x="4808" y="1695"/>
                        <a:ext cx="2" cy="2"/>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4" name="Freeform 2948"/>
                      <p:cNvSpPr>
                        <a:spLocks/>
                      </p:cNvSpPr>
                      <p:nvPr/>
                    </p:nvSpPr>
                    <p:spPr bwMode="auto">
                      <a:xfrm>
                        <a:off x="4184" y="1895"/>
                        <a:ext cx="1" cy="2"/>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5" name="Freeform 2949"/>
                      <p:cNvSpPr>
                        <a:spLocks/>
                      </p:cNvSpPr>
                      <p:nvPr/>
                    </p:nvSpPr>
                    <p:spPr bwMode="auto">
                      <a:xfrm>
                        <a:off x="4188" y="1469"/>
                        <a:ext cx="336" cy="534"/>
                      </a:xfrm>
                      <a:custGeom>
                        <a:avLst/>
                        <a:gdLst/>
                        <a:ahLst/>
                        <a:cxnLst>
                          <a:cxn ang="0">
                            <a:pos x="106" y="466"/>
                          </a:cxn>
                          <a:cxn ang="0">
                            <a:pos x="196" y="454"/>
                          </a:cxn>
                          <a:cxn ang="0">
                            <a:pos x="220" y="470"/>
                          </a:cxn>
                          <a:cxn ang="0">
                            <a:pos x="234" y="512"/>
                          </a:cxn>
                          <a:cxn ang="0">
                            <a:pos x="286" y="534"/>
                          </a:cxn>
                          <a:cxn ang="0">
                            <a:pos x="288" y="532"/>
                          </a:cxn>
                          <a:cxn ang="0">
                            <a:pos x="236" y="510"/>
                          </a:cxn>
                          <a:cxn ang="0">
                            <a:pos x="226" y="474"/>
                          </a:cxn>
                          <a:cxn ang="0">
                            <a:pos x="232" y="480"/>
                          </a:cxn>
                          <a:cxn ang="0">
                            <a:pos x="290" y="348"/>
                          </a:cxn>
                          <a:cxn ang="0">
                            <a:pos x="324" y="288"/>
                          </a:cxn>
                          <a:cxn ang="0">
                            <a:pos x="334" y="210"/>
                          </a:cxn>
                          <a:cxn ang="0">
                            <a:pos x="334" y="208"/>
                          </a:cxn>
                          <a:cxn ang="0">
                            <a:pos x="334" y="208"/>
                          </a:cxn>
                          <a:cxn ang="0">
                            <a:pos x="336" y="200"/>
                          </a:cxn>
                          <a:cxn ang="0">
                            <a:pos x="262" y="0"/>
                          </a:cxn>
                          <a:cxn ang="0">
                            <a:pos x="260" y="6"/>
                          </a:cxn>
                          <a:cxn ang="0">
                            <a:pos x="330" y="202"/>
                          </a:cxn>
                          <a:cxn ang="0">
                            <a:pos x="320" y="286"/>
                          </a:cxn>
                          <a:cxn ang="0">
                            <a:pos x="288" y="346"/>
                          </a:cxn>
                          <a:cxn ang="0">
                            <a:pos x="232" y="470"/>
                          </a:cxn>
                          <a:cxn ang="0">
                            <a:pos x="198" y="450"/>
                          </a:cxn>
                          <a:cxn ang="0">
                            <a:pos x="106" y="462"/>
                          </a:cxn>
                          <a:cxn ang="0">
                            <a:pos x="0" y="424"/>
                          </a:cxn>
                          <a:cxn ang="0">
                            <a:pos x="0" y="430"/>
                          </a:cxn>
                          <a:cxn ang="0">
                            <a:pos x="106" y="466"/>
                          </a:cxn>
                        </a:cxnLst>
                        <a:rect l="0" t="0" r="r" b="b"/>
                        <a:pathLst>
                          <a:path w="336" h="534">
                            <a:moveTo>
                              <a:pt x="106" y="466"/>
                            </a:moveTo>
                            <a:lnTo>
                              <a:pt x="196" y="454"/>
                            </a:lnTo>
                            <a:lnTo>
                              <a:pt x="220" y="470"/>
                            </a:lnTo>
                            <a:lnTo>
                              <a:pt x="234" y="512"/>
                            </a:lnTo>
                            <a:lnTo>
                              <a:pt x="286" y="534"/>
                            </a:lnTo>
                            <a:lnTo>
                              <a:pt x="288" y="532"/>
                            </a:lnTo>
                            <a:lnTo>
                              <a:pt x="236" y="510"/>
                            </a:lnTo>
                            <a:lnTo>
                              <a:pt x="226" y="474"/>
                            </a:lnTo>
                            <a:lnTo>
                              <a:pt x="232" y="480"/>
                            </a:lnTo>
                            <a:lnTo>
                              <a:pt x="290" y="348"/>
                            </a:lnTo>
                            <a:lnTo>
                              <a:pt x="324" y="288"/>
                            </a:lnTo>
                            <a:lnTo>
                              <a:pt x="334" y="210"/>
                            </a:lnTo>
                            <a:lnTo>
                              <a:pt x="334" y="208"/>
                            </a:lnTo>
                            <a:lnTo>
                              <a:pt x="334" y="208"/>
                            </a:lnTo>
                            <a:lnTo>
                              <a:pt x="336" y="200"/>
                            </a:lnTo>
                            <a:lnTo>
                              <a:pt x="262" y="0"/>
                            </a:lnTo>
                            <a:lnTo>
                              <a:pt x="260" y="6"/>
                            </a:lnTo>
                            <a:lnTo>
                              <a:pt x="330" y="202"/>
                            </a:lnTo>
                            <a:lnTo>
                              <a:pt x="320" y="286"/>
                            </a:lnTo>
                            <a:lnTo>
                              <a:pt x="288" y="346"/>
                            </a:lnTo>
                            <a:lnTo>
                              <a:pt x="232" y="470"/>
                            </a:lnTo>
                            <a:lnTo>
                              <a:pt x="198" y="450"/>
                            </a:lnTo>
                            <a:lnTo>
                              <a:pt x="106" y="462"/>
                            </a:lnTo>
                            <a:lnTo>
                              <a:pt x="0" y="424"/>
                            </a:lnTo>
                            <a:lnTo>
                              <a:pt x="0" y="430"/>
                            </a:lnTo>
                            <a:lnTo>
                              <a:pt x="106" y="46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6" name="Freeform 2950"/>
                      <p:cNvSpPr>
                        <a:spLocks/>
                      </p:cNvSpPr>
                      <p:nvPr/>
                    </p:nvSpPr>
                    <p:spPr bwMode="auto">
                      <a:xfrm>
                        <a:off x="4478" y="1699"/>
                        <a:ext cx="330" cy="340"/>
                      </a:xfrm>
                      <a:custGeom>
                        <a:avLst/>
                        <a:gdLst/>
                        <a:ahLst/>
                        <a:cxnLst>
                          <a:cxn ang="0">
                            <a:pos x="328" y="0"/>
                          </a:cxn>
                          <a:cxn ang="0">
                            <a:pos x="312" y="22"/>
                          </a:cxn>
                          <a:cxn ang="0">
                            <a:pos x="272" y="22"/>
                          </a:cxn>
                          <a:cxn ang="0">
                            <a:pos x="230" y="84"/>
                          </a:cxn>
                          <a:cxn ang="0">
                            <a:pos x="202" y="154"/>
                          </a:cxn>
                          <a:cxn ang="0">
                            <a:pos x="172" y="130"/>
                          </a:cxn>
                          <a:cxn ang="0">
                            <a:pos x="142" y="294"/>
                          </a:cxn>
                          <a:cxn ang="0">
                            <a:pos x="72" y="336"/>
                          </a:cxn>
                          <a:cxn ang="0">
                            <a:pos x="0" y="304"/>
                          </a:cxn>
                          <a:cxn ang="0">
                            <a:pos x="0" y="304"/>
                          </a:cxn>
                          <a:cxn ang="0">
                            <a:pos x="0" y="306"/>
                          </a:cxn>
                          <a:cxn ang="0">
                            <a:pos x="72" y="340"/>
                          </a:cxn>
                          <a:cxn ang="0">
                            <a:pos x="144" y="296"/>
                          </a:cxn>
                          <a:cxn ang="0">
                            <a:pos x="174" y="132"/>
                          </a:cxn>
                          <a:cxn ang="0">
                            <a:pos x="202" y="158"/>
                          </a:cxn>
                          <a:cxn ang="0">
                            <a:pos x="232" y="84"/>
                          </a:cxn>
                          <a:cxn ang="0">
                            <a:pos x="274" y="26"/>
                          </a:cxn>
                          <a:cxn ang="0">
                            <a:pos x="312" y="26"/>
                          </a:cxn>
                          <a:cxn ang="0">
                            <a:pos x="330" y="0"/>
                          </a:cxn>
                          <a:cxn ang="0">
                            <a:pos x="330" y="0"/>
                          </a:cxn>
                          <a:cxn ang="0">
                            <a:pos x="328" y="0"/>
                          </a:cxn>
                        </a:cxnLst>
                        <a:rect l="0" t="0" r="r" b="b"/>
                        <a:pathLst>
                          <a:path w="330" h="340">
                            <a:moveTo>
                              <a:pt x="328" y="0"/>
                            </a:moveTo>
                            <a:lnTo>
                              <a:pt x="312" y="22"/>
                            </a:lnTo>
                            <a:lnTo>
                              <a:pt x="272" y="22"/>
                            </a:lnTo>
                            <a:lnTo>
                              <a:pt x="230" y="84"/>
                            </a:lnTo>
                            <a:lnTo>
                              <a:pt x="202" y="154"/>
                            </a:lnTo>
                            <a:lnTo>
                              <a:pt x="172" y="130"/>
                            </a:lnTo>
                            <a:lnTo>
                              <a:pt x="142" y="294"/>
                            </a:lnTo>
                            <a:lnTo>
                              <a:pt x="72" y="336"/>
                            </a:lnTo>
                            <a:lnTo>
                              <a:pt x="0" y="304"/>
                            </a:lnTo>
                            <a:lnTo>
                              <a:pt x="0" y="304"/>
                            </a:lnTo>
                            <a:lnTo>
                              <a:pt x="0" y="306"/>
                            </a:lnTo>
                            <a:lnTo>
                              <a:pt x="72" y="340"/>
                            </a:lnTo>
                            <a:lnTo>
                              <a:pt x="144" y="296"/>
                            </a:lnTo>
                            <a:lnTo>
                              <a:pt x="174" y="132"/>
                            </a:lnTo>
                            <a:lnTo>
                              <a:pt x="202" y="158"/>
                            </a:lnTo>
                            <a:lnTo>
                              <a:pt x="232" y="84"/>
                            </a:lnTo>
                            <a:lnTo>
                              <a:pt x="274" y="26"/>
                            </a:lnTo>
                            <a:lnTo>
                              <a:pt x="312" y="26"/>
                            </a:lnTo>
                            <a:lnTo>
                              <a:pt x="330" y="0"/>
                            </a:lnTo>
                            <a:lnTo>
                              <a:pt x="330" y="0"/>
                            </a:lnTo>
                            <a:lnTo>
                              <a:pt x="328"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7" name="Freeform 2951"/>
                      <p:cNvSpPr>
                        <a:spLocks/>
                      </p:cNvSpPr>
                      <p:nvPr/>
                    </p:nvSpPr>
                    <p:spPr bwMode="auto">
                      <a:xfrm>
                        <a:off x="4474" y="2001"/>
                        <a:ext cx="4" cy="4"/>
                      </a:xfrm>
                      <a:custGeom>
                        <a:avLst/>
                        <a:gdLst/>
                        <a:ahLst/>
                        <a:cxnLst>
                          <a:cxn ang="0">
                            <a:pos x="4" y="2"/>
                          </a:cxn>
                          <a:cxn ang="0">
                            <a:pos x="2" y="0"/>
                          </a:cxn>
                          <a:cxn ang="0">
                            <a:pos x="0" y="2"/>
                          </a:cxn>
                          <a:cxn ang="0">
                            <a:pos x="4" y="4"/>
                          </a:cxn>
                          <a:cxn ang="0">
                            <a:pos x="4" y="2"/>
                          </a:cxn>
                          <a:cxn ang="0">
                            <a:pos x="4" y="2"/>
                          </a:cxn>
                        </a:cxnLst>
                        <a:rect l="0" t="0" r="r" b="b"/>
                        <a:pathLst>
                          <a:path w="4" h="4">
                            <a:moveTo>
                              <a:pt x="4" y="2"/>
                            </a:moveTo>
                            <a:lnTo>
                              <a:pt x="2" y="0"/>
                            </a:lnTo>
                            <a:lnTo>
                              <a:pt x="0" y="2"/>
                            </a:lnTo>
                            <a:lnTo>
                              <a:pt x="4" y="4"/>
                            </a:lnTo>
                            <a:lnTo>
                              <a:pt x="4" y="2"/>
                            </a:lnTo>
                            <a:lnTo>
                              <a:pt x="4"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8" name="Freeform 2952"/>
                      <p:cNvSpPr>
                        <a:spLocks/>
                      </p:cNvSpPr>
                      <p:nvPr/>
                    </p:nvSpPr>
                    <p:spPr bwMode="auto">
                      <a:xfrm>
                        <a:off x="4184" y="1893"/>
                        <a:ext cx="4" cy="6"/>
                      </a:xfrm>
                      <a:custGeom>
                        <a:avLst/>
                        <a:gdLst/>
                        <a:ahLst/>
                        <a:cxnLst>
                          <a:cxn ang="0">
                            <a:pos x="0" y="2"/>
                          </a:cxn>
                          <a:cxn ang="0">
                            <a:pos x="0" y="4"/>
                          </a:cxn>
                          <a:cxn ang="0">
                            <a:pos x="4" y="6"/>
                          </a:cxn>
                          <a:cxn ang="0">
                            <a:pos x="4" y="0"/>
                          </a:cxn>
                          <a:cxn ang="0">
                            <a:pos x="0" y="0"/>
                          </a:cxn>
                          <a:cxn ang="0">
                            <a:pos x="0" y="2"/>
                          </a:cxn>
                        </a:cxnLst>
                        <a:rect l="0" t="0" r="r" b="b"/>
                        <a:pathLst>
                          <a:path w="4" h="6">
                            <a:moveTo>
                              <a:pt x="0" y="2"/>
                            </a:moveTo>
                            <a:lnTo>
                              <a:pt x="0" y="4"/>
                            </a:lnTo>
                            <a:lnTo>
                              <a:pt x="4" y="6"/>
                            </a:lnTo>
                            <a:lnTo>
                              <a:pt x="4" y="0"/>
                            </a:lnTo>
                            <a:lnTo>
                              <a:pt x="0"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69" name="Freeform 2953"/>
                      <p:cNvSpPr>
                        <a:spLocks/>
                      </p:cNvSpPr>
                      <p:nvPr/>
                    </p:nvSpPr>
                    <p:spPr bwMode="auto">
                      <a:xfrm>
                        <a:off x="5064" y="1789"/>
                        <a:ext cx="4" cy="6"/>
                      </a:xfrm>
                      <a:custGeom>
                        <a:avLst/>
                        <a:gdLst/>
                        <a:ahLst/>
                        <a:cxnLst>
                          <a:cxn ang="0">
                            <a:pos x="4" y="6"/>
                          </a:cxn>
                          <a:cxn ang="0">
                            <a:pos x="4" y="0"/>
                          </a:cxn>
                          <a:cxn ang="0">
                            <a:pos x="2" y="2"/>
                          </a:cxn>
                          <a:cxn ang="0">
                            <a:pos x="0" y="6"/>
                          </a:cxn>
                          <a:cxn ang="0">
                            <a:pos x="4" y="6"/>
                          </a:cxn>
                        </a:cxnLst>
                        <a:rect l="0" t="0" r="r" b="b"/>
                        <a:pathLst>
                          <a:path w="4" h="6">
                            <a:moveTo>
                              <a:pt x="4" y="6"/>
                            </a:moveTo>
                            <a:lnTo>
                              <a:pt x="4" y="0"/>
                            </a:lnTo>
                            <a:lnTo>
                              <a:pt x="2" y="2"/>
                            </a:lnTo>
                            <a:lnTo>
                              <a:pt x="0" y="6"/>
                            </a:lnTo>
                            <a:lnTo>
                              <a:pt x="4"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0" name="Freeform 2954"/>
                      <p:cNvSpPr>
                        <a:spLocks/>
                      </p:cNvSpPr>
                      <p:nvPr/>
                    </p:nvSpPr>
                    <p:spPr bwMode="auto">
                      <a:xfrm>
                        <a:off x="4808" y="1697"/>
                        <a:ext cx="258" cy="118"/>
                      </a:xfrm>
                      <a:custGeom>
                        <a:avLst/>
                        <a:gdLst/>
                        <a:ahLst/>
                        <a:cxnLst>
                          <a:cxn ang="0">
                            <a:pos x="54" y="106"/>
                          </a:cxn>
                          <a:cxn ang="0">
                            <a:pos x="64" y="26"/>
                          </a:cxn>
                          <a:cxn ang="0">
                            <a:pos x="2" y="0"/>
                          </a:cxn>
                          <a:cxn ang="0">
                            <a:pos x="2" y="0"/>
                          </a:cxn>
                          <a:cxn ang="0">
                            <a:pos x="2" y="2"/>
                          </a:cxn>
                          <a:cxn ang="0">
                            <a:pos x="0" y="2"/>
                          </a:cxn>
                          <a:cxn ang="0">
                            <a:pos x="60" y="28"/>
                          </a:cxn>
                          <a:cxn ang="0">
                            <a:pos x="50" y="108"/>
                          </a:cxn>
                          <a:cxn ang="0">
                            <a:pos x="172" y="118"/>
                          </a:cxn>
                          <a:cxn ang="0">
                            <a:pos x="256" y="98"/>
                          </a:cxn>
                          <a:cxn ang="0">
                            <a:pos x="258" y="94"/>
                          </a:cxn>
                          <a:cxn ang="0">
                            <a:pos x="176" y="116"/>
                          </a:cxn>
                          <a:cxn ang="0">
                            <a:pos x="54" y="106"/>
                          </a:cxn>
                        </a:cxnLst>
                        <a:rect l="0" t="0" r="r" b="b"/>
                        <a:pathLst>
                          <a:path w="258" h="118">
                            <a:moveTo>
                              <a:pt x="54" y="106"/>
                            </a:moveTo>
                            <a:lnTo>
                              <a:pt x="64" y="26"/>
                            </a:lnTo>
                            <a:lnTo>
                              <a:pt x="2" y="0"/>
                            </a:lnTo>
                            <a:lnTo>
                              <a:pt x="2" y="0"/>
                            </a:lnTo>
                            <a:lnTo>
                              <a:pt x="2" y="2"/>
                            </a:lnTo>
                            <a:lnTo>
                              <a:pt x="0" y="2"/>
                            </a:lnTo>
                            <a:lnTo>
                              <a:pt x="60" y="28"/>
                            </a:lnTo>
                            <a:lnTo>
                              <a:pt x="50" y="108"/>
                            </a:lnTo>
                            <a:lnTo>
                              <a:pt x="172" y="118"/>
                            </a:lnTo>
                            <a:lnTo>
                              <a:pt x="256" y="98"/>
                            </a:lnTo>
                            <a:lnTo>
                              <a:pt x="258" y="94"/>
                            </a:lnTo>
                            <a:lnTo>
                              <a:pt x="176" y="116"/>
                            </a:lnTo>
                            <a:lnTo>
                              <a:pt x="54" y="10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1" name="Freeform 2955"/>
                      <p:cNvSpPr>
                        <a:spLocks/>
                      </p:cNvSpPr>
                      <p:nvPr/>
                    </p:nvSpPr>
                    <p:spPr bwMode="auto">
                      <a:xfrm>
                        <a:off x="4522" y="1673"/>
                        <a:ext cx="286" cy="72"/>
                      </a:xfrm>
                      <a:custGeom>
                        <a:avLst/>
                        <a:gdLst/>
                        <a:ahLst/>
                        <a:cxnLst>
                          <a:cxn ang="0">
                            <a:pos x="18" y="56"/>
                          </a:cxn>
                          <a:cxn ang="0">
                            <a:pos x="106" y="26"/>
                          </a:cxn>
                          <a:cxn ang="0">
                            <a:pos x="132" y="72"/>
                          </a:cxn>
                          <a:cxn ang="0">
                            <a:pos x="238" y="16"/>
                          </a:cxn>
                          <a:cxn ang="0">
                            <a:pos x="284" y="26"/>
                          </a:cxn>
                          <a:cxn ang="0">
                            <a:pos x="286" y="24"/>
                          </a:cxn>
                          <a:cxn ang="0">
                            <a:pos x="234" y="12"/>
                          </a:cxn>
                          <a:cxn ang="0">
                            <a:pos x="132" y="68"/>
                          </a:cxn>
                          <a:cxn ang="0">
                            <a:pos x="108" y="26"/>
                          </a:cxn>
                          <a:cxn ang="0">
                            <a:pos x="108" y="26"/>
                          </a:cxn>
                          <a:cxn ang="0">
                            <a:pos x="106" y="24"/>
                          </a:cxn>
                          <a:cxn ang="0">
                            <a:pos x="20" y="50"/>
                          </a:cxn>
                          <a:cxn ang="0">
                            <a:pos x="2" y="0"/>
                          </a:cxn>
                          <a:cxn ang="0">
                            <a:pos x="0" y="4"/>
                          </a:cxn>
                          <a:cxn ang="0">
                            <a:pos x="0" y="6"/>
                          </a:cxn>
                          <a:cxn ang="0">
                            <a:pos x="18" y="56"/>
                          </a:cxn>
                        </a:cxnLst>
                        <a:rect l="0" t="0" r="r" b="b"/>
                        <a:pathLst>
                          <a:path w="286" h="72">
                            <a:moveTo>
                              <a:pt x="18" y="56"/>
                            </a:moveTo>
                            <a:lnTo>
                              <a:pt x="106" y="26"/>
                            </a:lnTo>
                            <a:lnTo>
                              <a:pt x="132" y="72"/>
                            </a:lnTo>
                            <a:lnTo>
                              <a:pt x="238" y="16"/>
                            </a:lnTo>
                            <a:lnTo>
                              <a:pt x="284" y="26"/>
                            </a:lnTo>
                            <a:lnTo>
                              <a:pt x="286" y="24"/>
                            </a:lnTo>
                            <a:lnTo>
                              <a:pt x="234" y="12"/>
                            </a:lnTo>
                            <a:lnTo>
                              <a:pt x="132" y="68"/>
                            </a:lnTo>
                            <a:lnTo>
                              <a:pt x="108" y="26"/>
                            </a:lnTo>
                            <a:lnTo>
                              <a:pt x="108" y="26"/>
                            </a:lnTo>
                            <a:lnTo>
                              <a:pt x="106" y="24"/>
                            </a:lnTo>
                            <a:lnTo>
                              <a:pt x="20" y="50"/>
                            </a:lnTo>
                            <a:lnTo>
                              <a:pt x="2" y="0"/>
                            </a:lnTo>
                            <a:lnTo>
                              <a:pt x="0" y="4"/>
                            </a:lnTo>
                            <a:lnTo>
                              <a:pt x="0" y="6"/>
                            </a:lnTo>
                            <a:lnTo>
                              <a:pt x="18" y="5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2" name="Freeform 2956"/>
                      <p:cNvSpPr>
                        <a:spLocks/>
                      </p:cNvSpPr>
                      <p:nvPr/>
                    </p:nvSpPr>
                    <p:spPr bwMode="auto">
                      <a:xfrm>
                        <a:off x="4806" y="1697"/>
                        <a:ext cx="4" cy="2"/>
                      </a:xfrm>
                      <a:custGeom>
                        <a:avLst/>
                        <a:gdLst/>
                        <a:ahLst/>
                        <a:cxnLst>
                          <a:cxn ang="0">
                            <a:pos x="2" y="2"/>
                          </a:cxn>
                          <a:cxn ang="0">
                            <a:pos x="2" y="2"/>
                          </a:cxn>
                          <a:cxn ang="0">
                            <a:pos x="4" y="2"/>
                          </a:cxn>
                          <a:cxn ang="0">
                            <a:pos x="4" y="0"/>
                          </a:cxn>
                          <a:cxn ang="0">
                            <a:pos x="2" y="0"/>
                          </a:cxn>
                          <a:cxn ang="0">
                            <a:pos x="0" y="2"/>
                          </a:cxn>
                          <a:cxn ang="0">
                            <a:pos x="2" y="2"/>
                          </a:cxn>
                        </a:cxnLst>
                        <a:rect l="0" t="0" r="r" b="b"/>
                        <a:pathLst>
                          <a:path w="4" h="2">
                            <a:moveTo>
                              <a:pt x="2" y="2"/>
                            </a:moveTo>
                            <a:lnTo>
                              <a:pt x="2" y="2"/>
                            </a:lnTo>
                            <a:lnTo>
                              <a:pt x="4" y="2"/>
                            </a:lnTo>
                            <a:lnTo>
                              <a:pt x="4" y="0"/>
                            </a:lnTo>
                            <a:lnTo>
                              <a:pt x="2" y="0"/>
                            </a:lnTo>
                            <a:lnTo>
                              <a:pt x="0" y="2"/>
                            </a:lnTo>
                            <a:lnTo>
                              <a:pt x="2"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3" name="Rectangle 2957"/>
                      <p:cNvSpPr>
                        <a:spLocks noChangeArrowheads="1"/>
                      </p:cNvSpPr>
                      <p:nvPr/>
                    </p:nvSpPr>
                    <p:spPr bwMode="auto">
                      <a:xfrm>
                        <a:off x="4522" y="1677"/>
                        <a:ext cx="1" cy="2"/>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74" name="Freeform 2958"/>
                      <p:cNvSpPr>
                        <a:spLocks/>
                      </p:cNvSpPr>
                      <p:nvPr/>
                    </p:nvSpPr>
                    <p:spPr bwMode="auto">
                      <a:xfrm>
                        <a:off x="4516" y="1321"/>
                        <a:ext cx="490" cy="270"/>
                      </a:xfrm>
                      <a:custGeom>
                        <a:avLst/>
                        <a:gdLst/>
                        <a:ahLst/>
                        <a:cxnLst>
                          <a:cxn ang="0">
                            <a:pos x="462" y="258"/>
                          </a:cxn>
                          <a:cxn ang="0">
                            <a:pos x="490" y="190"/>
                          </a:cxn>
                          <a:cxn ang="0">
                            <a:pos x="452" y="138"/>
                          </a:cxn>
                          <a:cxn ang="0">
                            <a:pos x="462" y="68"/>
                          </a:cxn>
                          <a:cxn ang="0">
                            <a:pos x="382" y="0"/>
                          </a:cxn>
                          <a:cxn ang="0">
                            <a:pos x="18" y="120"/>
                          </a:cxn>
                          <a:cxn ang="0">
                            <a:pos x="2" y="74"/>
                          </a:cxn>
                          <a:cxn ang="0">
                            <a:pos x="0" y="76"/>
                          </a:cxn>
                          <a:cxn ang="0">
                            <a:pos x="16" y="124"/>
                          </a:cxn>
                          <a:cxn ang="0">
                            <a:pos x="382" y="4"/>
                          </a:cxn>
                          <a:cxn ang="0">
                            <a:pos x="458" y="70"/>
                          </a:cxn>
                          <a:cxn ang="0">
                            <a:pos x="448" y="138"/>
                          </a:cxn>
                          <a:cxn ang="0">
                            <a:pos x="488" y="190"/>
                          </a:cxn>
                          <a:cxn ang="0">
                            <a:pos x="458" y="256"/>
                          </a:cxn>
                          <a:cxn ang="0">
                            <a:pos x="428" y="266"/>
                          </a:cxn>
                          <a:cxn ang="0">
                            <a:pos x="430" y="270"/>
                          </a:cxn>
                          <a:cxn ang="0">
                            <a:pos x="462" y="258"/>
                          </a:cxn>
                        </a:cxnLst>
                        <a:rect l="0" t="0" r="r" b="b"/>
                        <a:pathLst>
                          <a:path w="490" h="270">
                            <a:moveTo>
                              <a:pt x="462" y="258"/>
                            </a:moveTo>
                            <a:lnTo>
                              <a:pt x="490" y="190"/>
                            </a:lnTo>
                            <a:lnTo>
                              <a:pt x="452" y="138"/>
                            </a:lnTo>
                            <a:lnTo>
                              <a:pt x="462" y="68"/>
                            </a:lnTo>
                            <a:lnTo>
                              <a:pt x="382" y="0"/>
                            </a:lnTo>
                            <a:lnTo>
                              <a:pt x="18" y="120"/>
                            </a:lnTo>
                            <a:lnTo>
                              <a:pt x="2" y="74"/>
                            </a:lnTo>
                            <a:lnTo>
                              <a:pt x="0" y="76"/>
                            </a:lnTo>
                            <a:lnTo>
                              <a:pt x="16" y="124"/>
                            </a:lnTo>
                            <a:lnTo>
                              <a:pt x="382" y="4"/>
                            </a:lnTo>
                            <a:lnTo>
                              <a:pt x="458" y="70"/>
                            </a:lnTo>
                            <a:lnTo>
                              <a:pt x="448" y="138"/>
                            </a:lnTo>
                            <a:lnTo>
                              <a:pt x="488" y="190"/>
                            </a:lnTo>
                            <a:lnTo>
                              <a:pt x="458" y="256"/>
                            </a:lnTo>
                            <a:lnTo>
                              <a:pt x="428" y="266"/>
                            </a:lnTo>
                            <a:lnTo>
                              <a:pt x="430" y="270"/>
                            </a:lnTo>
                            <a:lnTo>
                              <a:pt x="462" y="25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5" name="Freeform 2959"/>
                      <p:cNvSpPr>
                        <a:spLocks/>
                      </p:cNvSpPr>
                      <p:nvPr/>
                    </p:nvSpPr>
                    <p:spPr bwMode="auto">
                      <a:xfrm>
                        <a:off x="4626" y="1587"/>
                        <a:ext cx="320" cy="112"/>
                      </a:xfrm>
                      <a:custGeom>
                        <a:avLst/>
                        <a:gdLst/>
                        <a:ahLst/>
                        <a:cxnLst>
                          <a:cxn ang="0">
                            <a:pos x="4" y="112"/>
                          </a:cxn>
                          <a:cxn ang="0">
                            <a:pos x="320" y="4"/>
                          </a:cxn>
                          <a:cxn ang="0">
                            <a:pos x="318" y="0"/>
                          </a:cxn>
                          <a:cxn ang="0">
                            <a:pos x="0" y="110"/>
                          </a:cxn>
                          <a:cxn ang="0">
                            <a:pos x="2" y="110"/>
                          </a:cxn>
                          <a:cxn ang="0">
                            <a:pos x="2" y="110"/>
                          </a:cxn>
                          <a:cxn ang="0">
                            <a:pos x="4" y="112"/>
                          </a:cxn>
                        </a:cxnLst>
                        <a:rect l="0" t="0" r="r" b="b"/>
                        <a:pathLst>
                          <a:path w="320" h="112">
                            <a:moveTo>
                              <a:pt x="4" y="112"/>
                            </a:moveTo>
                            <a:lnTo>
                              <a:pt x="320" y="4"/>
                            </a:lnTo>
                            <a:lnTo>
                              <a:pt x="318" y="0"/>
                            </a:lnTo>
                            <a:lnTo>
                              <a:pt x="0" y="110"/>
                            </a:lnTo>
                            <a:lnTo>
                              <a:pt x="2" y="110"/>
                            </a:lnTo>
                            <a:lnTo>
                              <a:pt x="2" y="110"/>
                            </a:lnTo>
                            <a:lnTo>
                              <a:pt x="4" y="11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6" name="Freeform 2960"/>
                      <p:cNvSpPr>
                        <a:spLocks/>
                      </p:cNvSpPr>
                      <p:nvPr/>
                    </p:nvSpPr>
                    <p:spPr bwMode="auto">
                      <a:xfrm>
                        <a:off x="4628" y="1697"/>
                        <a:ext cx="2" cy="2"/>
                      </a:xfrm>
                      <a:custGeom>
                        <a:avLst/>
                        <a:gdLst/>
                        <a:ahLst/>
                        <a:cxnLst>
                          <a:cxn ang="0">
                            <a:pos x="2" y="2"/>
                          </a:cxn>
                          <a:cxn ang="0">
                            <a:pos x="0" y="0"/>
                          </a:cxn>
                          <a:cxn ang="0">
                            <a:pos x="0" y="0"/>
                          </a:cxn>
                          <a:cxn ang="0">
                            <a:pos x="2" y="2"/>
                          </a:cxn>
                          <a:cxn ang="0">
                            <a:pos x="2" y="2"/>
                          </a:cxn>
                        </a:cxnLst>
                        <a:rect l="0" t="0" r="r" b="b"/>
                        <a:pathLst>
                          <a:path w="2" h="2">
                            <a:moveTo>
                              <a:pt x="2" y="2"/>
                            </a:moveTo>
                            <a:lnTo>
                              <a:pt x="0" y="0"/>
                            </a:lnTo>
                            <a:lnTo>
                              <a:pt x="0" y="0"/>
                            </a:lnTo>
                            <a:lnTo>
                              <a:pt x="2" y="2"/>
                            </a:lnTo>
                            <a:lnTo>
                              <a:pt x="2"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77" name="Rectangle 2961"/>
                      <p:cNvSpPr>
                        <a:spLocks noChangeArrowheads="1"/>
                      </p:cNvSpPr>
                      <p:nvPr/>
                    </p:nvSpPr>
                    <p:spPr bwMode="auto">
                      <a:xfrm>
                        <a:off x="5072" y="1723"/>
                        <a:ext cx="2" cy="2"/>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78" name="Rectangle 2962"/>
                      <p:cNvSpPr>
                        <a:spLocks noChangeArrowheads="1"/>
                      </p:cNvSpPr>
                      <p:nvPr/>
                    </p:nvSpPr>
                    <p:spPr bwMode="auto">
                      <a:xfrm>
                        <a:off x="4944" y="1587"/>
                        <a:ext cx="1"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79" name="Freeform 2963"/>
                      <p:cNvSpPr>
                        <a:spLocks/>
                      </p:cNvSpPr>
                      <p:nvPr/>
                    </p:nvSpPr>
                    <p:spPr bwMode="auto">
                      <a:xfrm>
                        <a:off x="4946" y="1591"/>
                        <a:ext cx="126" cy="162"/>
                      </a:xfrm>
                      <a:custGeom>
                        <a:avLst/>
                        <a:gdLst/>
                        <a:ahLst/>
                        <a:cxnLst>
                          <a:cxn ang="0">
                            <a:pos x="0" y="0"/>
                          </a:cxn>
                          <a:cxn ang="0">
                            <a:pos x="0" y="0"/>
                          </a:cxn>
                          <a:cxn ang="0">
                            <a:pos x="58" y="162"/>
                          </a:cxn>
                          <a:cxn ang="0">
                            <a:pos x="126" y="134"/>
                          </a:cxn>
                          <a:cxn ang="0">
                            <a:pos x="126" y="132"/>
                          </a:cxn>
                          <a:cxn ang="0">
                            <a:pos x="62" y="158"/>
                          </a:cxn>
                          <a:cxn ang="0">
                            <a:pos x="0" y="0"/>
                          </a:cxn>
                        </a:cxnLst>
                        <a:rect l="0" t="0" r="r" b="b"/>
                        <a:pathLst>
                          <a:path w="126" h="162">
                            <a:moveTo>
                              <a:pt x="0" y="0"/>
                            </a:moveTo>
                            <a:lnTo>
                              <a:pt x="0" y="0"/>
                            </a:lnTo>
                            <a:lnTo>
                              <a:pt x="58" y="162"/>
                            </a:lnTo>
                            <a:lnTo>
                              <a:pt x="126" y="134"/>
                            </a:lnTo>
                            <a:lnTo>
                              <a:pt x="126" y="132"/>
                            </a:lnTo>
                            <a:lnTo>
                              <a:pt x="62" y="158"/>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0" name="Freeform 2964"/>
                      <p:cNvSpPr>
                        <a:spLocks/>
                      </p:cNvSpPr>
                      <p:nvPr/>
                    </p:nvSpPr>
                    <p:spPr bwMode="auto">
                      <a:xfrm>
                        <a:off x="4944" y="1587"/>
                        <a:ext cx="2" cy="4"/>
                      </a:xfrm>
                      <a:custGeom>
                        <a:avLst/>
                        <a:gdLst/>
                        <a:ahLst/>
                        <a:cxnLst>
                          <a:cxn ang="0">
                            <a:pos x="2" y="4"/>
                          </a:cxn>
                          <a:cxn ang="0">
                            <a:pos x="0" y="0"/>
                          </a:cxn>
                          <a:cxn ang="0">
                            <a:pos x="0" y="0"/>
                          </a:cxn>
                          <a:cxn ang="0">
                            <a:pos x="2" y="4"/>
                          </a:cxn>
                          <a:cxn ang="0">
                            <a:pos x="2" y="4"/>
                          </a:cxn>
                        </a:cxnLst>
                        <a:rect l="0" t="0" r="r" b="b"/>
                        <a:pathLst>
                          <a:path w="2" h="4">
                            <a:moveTo>
                              <a:pt x="2" y="4"/>
                            </a:moveTo>
                            <a:lnTo>
                              <a:pt x="0" y="0"/>
                            </a:lnTo>
                            <a:lnTo>
                              <a:pt x="0" y="0"/>
                            </a:lnTo>
                            <a:lnTo>
                              <a:pt x="2" y="4"/>
                            </a:lnTo>
                            <a:lnTo>
                              <a:pt x="2"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1" name="Freeform 2965"/>
                      <p:cNvSpPr>
                        <a:spLocks/>
                      </p:cNvSpPr>
                      <p:nvPr/>
                    </p:nvSpPr>
                    <p:spPr bwMode="auto">
                      <a:xfrm>
                        <a:off x="5280" y="1225"/>
                        <a:ext cx="2" cy="4"/>
                      </a:xfrm>
                      <a:custGeom>
                        <a:avLst/>
                        <a:gdLst/>
                        <a:ahLst/>
                        <a:cxnLst>
                          <a:cxn ang="0">
                            <a:pos x="2" y="4"/>
                          </a:cxn>
                          <a:cxn ang="0">
                            <a:pos x="2" y="2"/>
                          </a:cxn>
                          <a:cxn ang="0">
                            <a:pos x="0" y="0"/>
                          </a:cxn>
                          <a:cxn ang="0">
                            <a:pos x="0" y="0"/>
                          </a:cxn>
                          <a:cxn ang="0">
                            <a:pos x="2" y="4"/>
                          </a:cxn>
                        </a:cxnLst>
                        <a:rect l="0" t="0" r="r" b="b"/>
                        <a:pathLst>
                          <a:path w="2" h="4">
                            <a:moveTo>
                              <a:pt x="2" y="4"/>
                            </a:moveTo>
                            <a:lnTo>
                              <a:pt x="2" y="2"/>
                            </a:lnTo>
                            <a:lnTo>
                              <a:pt x="0" y="0"/>
                            </a:lnTo>
                            <a:lnTo>
                              <a:pt x="0" y="0"/>
                            </a:lnTo>
                            <a:lnTo>
                              <a:pt x="2" y="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2" name="Freeform 2966"/>
                      <p:cNvSpPr>
                        <a:spLocks/>
                      </p:cNvSpPr>
                      <p:nvPr/>
                    </p:nvSpPr>
                    <p:spPr bwMode="auto">
                      <a:xfrm>
                        <a:off x="5218" y="1341"/>
                        <a:ext cx="4" cy="6"/>
                      </a:xfrm>
                      <a:custGeom>
                        <a:avLst/>
                        <a:gdLst/>
                        <a:ahLst/>
                        <a:cxnLst>
                          <a:cxn ang="0">
                            <a:pos x="2" y="6"/>
                          </a:cxn>
                          <a:cxn ang="0">
                            <a:pos x="2" y="6"/>
                          </a:cxn>
                          <a:cxn ang="0">
                            <a:pos x="4" y="4"/>
                          </a:cxn>
                          <a:cxn ang="0">
                            <a:pos x="2" y="0"/>
                          </a:cxn>
                          <a:cxn ang="0">
                            <a:pos x="0" y="4"/>
                          </a:cxn>
                          <a:cxn ang="0">
                            <a:pos x="2" y="6"/>
                          </a:cxn>
                        </a:cxnLst>
                        <a:rect l="0" t="0" r="r" b="b"/>
                        <a:pathLst>
                          <a:path w="4" h="6">
                            <a:moveTo>
                              <a:pt x="2" y="6"/>
                            </a:moveTo>
                            <a:lnTo>
                              <a:pt x="2" y="6"/>
                            </a:lnTo>
                            <a:lnTo>
                              <a:pt x="4" y="4"/>
                            </a:lnTo>
                            <a:lnTo>
                              <a:pt x="2" y="0"/>
                            </a:lnTo>
                            <a:lnTo>
                              <a:pt x="0" y="4"/>
                            </a:lnTo>
                            <a:lnTo>
                              <a:pt x="2"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3" name="Freeform 2967"/>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4" name="Freeform 2968"/>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5" name="Freeform 2969"/>
                      <p:cNvSpPr>
                        <a:spLocks/>
                      </p:cNvSpPr>
                      <p:nvPr/>
                    </p:nvSpPr>
                    <p:spPr bwMode="auto">
                      <a:xfrm>
                        <a:off x="5190" y="1183"/>
                        <a:ext cx="90" cy="162"/>
                      </a:xfrm>
                      <a:custGeom>
                        <a:avLst/>
                        <a:gdLst/>
                        <a:ahLst/>
                        <a:cxnLst>
                          <a:cxn ang="0">
                            <a:pos x="0" y="20"/>
                          </a:cxn>
                          <a:cxn ang="0">
                            <a:pos x="28" y="162"/>
                          </a:cxn>
                          <a:cxn ang="0">
                            <a:pos x="30" y="158"/>
                          </a:cxn>
                          <a:cxn ang="0">
                            <a:pos x="4" y="20"/>
                          </a:cxn>
                          <a:cxn ang="0">
                            <a:pos x="54" y="2"/>
                          </a:cxn>
                          <a:cxn ang="0">
                            <a:pos x="90" y="42"/>
                          </a:cxn>
                          <a:cxn ang="0">
                            <a:pos x="90" y="42"/>
                          </a:cxn>
                          <a:cxn ang="0">
                            <a:pos x="54" y="0"/>
                          </a:cxn>
                          <a:cxn ang="0">
                            <a:pos x="0" y="20"/>
                          </a:cxn>
                        </a:cxnLst>
                        <a:rect l="0" t="0" r="r" b="b"/>
                        <a:pathLst>
                          <a:path w="90" h="162">
                            <a:moveTo>
                              <a:pt x="0" y="20"/>
                            </a:moveTo>
                            <a:lnTo>
                              <a:pt x="28" y="162"/>
                            </a:lnTo>
                            <a:lnTo>
                              <a:pt x="30" y="158"/>
                            </a:lnTo>
                            <a:lnTo>
                              <a:pt x="4" y="20"/>
                            </a:lnTo>
                            <a:lnTo>
                              <a:pt x="54" y="2"/>
                            </a:lnTo>
                            <a:lnTo>
                              <a:pt x="90" y="42"/>
                            </a:lnTo>
                            <a:lnTo>
                              <a:pt x="90" y="42"/>
                            </a:lnTo>
                            <a:lnTo>
                              <a:pt x="54" y="0"/>
                            </a:lnTo>
                            <a:lnTo>
                              <a:pt x="0" y="2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6" name="Rectangle 2970"/>
                      <p:cNvSpPr>
                        <a:spLocks noChangeArrowheads="1"/>
                      </p:cNvSpPr>
                      <p:nvPr/>
                    </p:nvSpPr>
                    <p:spPr bwMode="auto">
                      <a:xfrm>
                        <a:off x="5220" y="1347"/>
                        <a:ext cx="1" cy="1"/>
                      </a:xfrm>
                      <a:prstGeom prst="rect">
                        <a:avLst/>
                      </a:prstGeom>
                      <a:grpFill/>
                      <a:ln w="0">
                        <a:solidFill>
                          <a:schemeClr val="bg1"/>
                        </a:solidFill>
                        <a:prstDash val="solid"/>
                        <a:miter lim="800000"/>
                        <a:headEnd/>
                        <a:tailEnd/>
                      </a:ln>
                    </p:spPr>
                    <p:txBody>
                      <a:bodyPr/>
                      <a:lstStyle/>
                      <a:p>
                        <a:pPr>
                          <a:defRPr/>
                        </a:pPr>
                        <a:endParaRPr lang="da-DK" sz="800">
                          <a:solidFill>
                            <a:prstClr val="black"/>
                          </a:solidFill>
                        </a:endParaRPr>
                      </a:p>
                    </p:txBody>
                  </p:sp>
                  <p:sp>
                    <p:nvSpPr>
                      <p:cNvPr id="187" name="Freeform 2971"/>
                      <p:cNvSpPr>
                        <a:spLocks/>
                      </p:cNvSpPr>
                      <p:nvPr/>
                    </p:nvSpPr>
                    <p:spPr bwMode="auto">
                      <a:xfrm>
                        <a:off x="5086" y="815"/>
                        <a:ext cx="166" cy="248"/>
                      </a:xfrm>
                      <a:custGeom>
                        <a:avLst/>
                        <a:gdLst/>
                        <a:ahLst/>
                        <a:cxnLst>
                          <a:cxn ang="0">
                            <a:pos x="0" y="0"/>
                          </a:cxn>
                          <a:cxn ang="0">
                            <a:pos x="0" y="2"/>
                          </a:cxn>
                          <a:cxn ang="0">
                            <a:pos x="126" y="220"/>
                          </a:cxn>
                          <a:cxn ang="0">
                            <a:pos x="166" y="248"/>
                          </a:cxn>
                          <a:cxn ang="0">
                            <a:pos x="166" y="246"/>
                          </a:cxn>
                          <a:cxn ang="0">
                            <a:pos x="126" y="218"/>
                          </a:cxn>
                          <a:cxn ang="0">
                            <a:pos x="0" y="0"/>
                          </a:cxn>
                        </a:cxnLst>
                        <a:rect l="0" t="0" r="r" b="b"/>
                        <a:pathLst>
                          <a:path w="166" h="248">
                            <a:moveTo>
                              <a:pt x="0" y="0"/>
                            </a:moveTo>
                            <a:lnTo>
                              <a:pt x="0" y="2"/>
                            </a:lnTo>
                            <a:lnTo>
                              <a:pt x="126" y="220"/>
                            </a:lnTo>
                            <a:lnTo>
                              <a:pt x="166" y="248"/>
                            </a:lnTo>
                            <a:lnTo>
                              <a:pt x="166" y="246"/>
                            </a:lnTo>
                            <a:lnTo>
                              <a:pt x="126" y="218"/>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8" name="Freeform 2972"/>
                      <p:cNvSpPr>
                        <a:spLocks/>
                      </p:cNvSpPr>
                      <p:nvPr/>
                    </p:nvSpPr>
                    <p:spPr bwMode="auto">
                      <a:xfrm>
                        <a:off x="1412" y="711"/>
                        <a:ext cx="64" cy="342"/>
                      </a:xfrm>
                      <a:custGeom>
                        <a:avLst/>
                        <a:gdLst/>
                        <a:ahLst/>
                        <a:cxnLst>
                          <a:cxn ang="0">
                            <a:pos x="0" y="342"/>
                          </a:cxn>
                          <a:cxn ang="0">
                            <a:pos x="64" y="0"/>
                          </a:cxn>
                          <a:cxn ang="0">
                            <a:pos x="60" y="0"/>
                          </a:cxn>
                          <a:cxn ang="0">
                            <a:pos x="0" y="342"/>
                          </a:cxn>
                        </a:cxnLst>
                        <a:rect l="0" t="0" r="r" b="b"/>
                        <a:pathLst>
                          <a:path w="64" h="342">
                            <a:moveTo>
                              <a:pt x="0" y="342"/>
                            </a:moveTo>
                            <a:lnTo>
                              <a:pt x="64" y="0"/>
                            </a:lnTo>
                            <a:lnTo>
                              <a:pt x="60" y="0"/>
                            </a:lnTo>
                            <a:lnTo>
                              <a:pt x="0" y="34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89" name="Freeform 2973"/>
                      <p:cNvSpPr>
                        <a:spLocks/>
                      </p:cNvSpPr>
                      <p:nvPr/>
                    </p:nvSpPr>
                    <p:spPr bwMode="auto">
                      <a:xfrm>
                        <a:off x="760" y="923"/>
                        <a:ext cx="682" cy="650"/>
                      </a:xfrm>
                      <a:custGeom>
                        <a:avLst/>
                        <a:gdLst/>
                        <a:ahLst/>
                        <a:cxnLst>
                          <a:cxn ang="0">
                            <a:pos x="528" y="128"/>
                          </a:cxn>
                          <a:cxn ang="0">
                            <a:pos x="412" y="144"/>
                          </a:cxn>
                          <a:cxn ang="0">
                            <a:pos x="232" y="112"/>
                          </a:cxn>
                          <a:cxn ang="0">
                            <a:pos x="224" y="26"/>
                          </a:cxn>
                          <a:cxn ang="0">
                            <a:pos x="128" y="0"/>
                          </a:cxn>
                          <a:cxn ang="0">
                            <a:pos x="128" y="20"/>
                          </a:cxn>
                          <a:cxn ang="0">
                            <a:pos x="0" y="410"/>
                          </a:cxn>
                          <a:cxn ang="0">
                            <a:pos x="6" y="510"/>
                          </a:cxn>
                          <a:cxn ang="0">
                            <a:pos x="344" y="602"/>
                          </a:cxn>
                          <a:cxn ang="0">
                            <a:pos x="572" y="650"/>
                          </a:cxn>
                          <a:cxn ang="0">
                            <a:pos x="622" y="386"/>
                          </a:cxn>
                          <a:cxn ang="0">
                            <a:pos x="614" y="360"/>
                          </a:cxn>
                          <a:cxn ang="0">
                            <a:pos x="682" y="224"/>
                          </a:cxn>
                          <a:cxn ang="0">
                            <a:pos x="662" y="166"/>
                          </a:cxn>
                          <a:cxn ang="0">
                            <a:pos x="528" y="128"/>
                          </a:cxn>
                        </a:cxnLst>
                        <a:rect l="0" t="0" r="r" b="b"/>
                        <a:pathLst>
                          <a:path w="682" h="650">
                            <a:moveTo>
                              <a:pt x="528" y="128"/>
                            </a:moveTo>
                            <a:lnTo>
                              <a:pt x="412" y="144"/>
                            </a:lnTo>
                            <a:lnTo>
                              <a:pt x="232" y="112"/>
                            </a:lnTo>
                            <a:lnTo>
                              <a:pt x="224" y="26"/>
                            </a:lnTo>
                            <a:lnTo>
                              <a:pt x="128" y="0"/>
                            </a:lnTo>
                            <a:lnTo>
                              <a:pt x="128" y="20"/>
                            </a:lnTo>
                            <a:lnTo>
                              <a:pt x="0" y="410"/>
                            </a:lnTo>
                            <a:lnTo>
                              <a:pt x="6" y="510"/>
                            </a:lnTo>
                            <a:lnTo>
                              <a:pt x="344" y="602"/>
                            </a:lnTo>
                            <a:lnTo>
                              <a:pt x="572" y="650"/>
                            </a:lnTo>
                            <a:lnTo>
                              <a:pt x="622" y="386"/>
                            </a:lnTo>
                            <a:lnTo>
                              <a:pt x="614" y="360"/>
                            </a:lnTo>
                            <a:lnTo>
                              <a:pt x="682" y="224"/>
                            </a:lnTo>
                            <a:lnTo>
                              <a:pt x="662" y="166"/>
                            </a:lnTo>
                            <a:lnTo>
                              <a:pt x="528" y="128"/>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190" name="Freeform 2974"/>
                      <p:cNvSpPr>
                        <a:spLocks/>
                      </p:cNvSpPr>
                      <p:nvPr/>
                    </p:nvSpPr>
                    <p:spPr bwMode="auto">
                      <a:xfrm>
                        <a:off x="888" y="593"/>
                        <a:ext cx="588" cy="486"/>
                      </a:xfrm>
                      <a:custGeom>
                        <a:avLst/>
                        <a:gdLst/>
                        <a:ahLst/>
                        <a:cxnLst>
                          <a:cxn ang="0">
                            <a:pos x="198" y="12"/>
                          </a:cxn>
                          <a:cxn ang="0">
                            <a:pos x="118" y="92"/>
                          </a:cxn>
                          <a:cxn ang="0">
                            <a:pos x="0" y="0"/>
                          </a:cxn>
                          <a:cxn ang="0">
                            <a:pos x="0" y="324"/>
                          </a:cxn>
                          <a:cxn ang="0">
                            <a:pos x="100" y="352"/>
                          </a:cxn>
                          <a:cxn ang="0">
                            <a:pos x="110" y="436"/>
                          </a:cxn>
                          <a:cxn ang="0">
                            <a:pos x="284" y="468"/>
                          </a:cxn>
                          <a:cxn ang="0">
                            <a:pos x="400" y="452"/>
                          </a:cxn>
                          <a:cxn ang="0">
                            <a:pos x="532" y="486"/>
                          </a:cxn>
                          <a:cxn ang="0">
                            <a:pos x="524" y="460"/>
                          </a:cxn>
                          <a:cxn ang="0">
                            <a:pos x="584" y="118"/>
                          </a:cxn>
                          <a:cxn ang="0">
                            <a:pos x="588" y="118"/>
                          </a:cxn>
                          <a:cxn ang="0">
                            <a:pos x="588" y="116"/>
                          </a:cxn>
                          <a:cxn ang="0">
                            <a:pos x="198" y="12"/>
                          </a:cxn>
                        </a:cxnLst>
                        <a:rect l="0" t="0" r="r" b="b"/>
                        <a:pathLst>
                          <a:path w="588" h="486">
                            <a:moveTo>
                              <a:pt x="198" y="12"/>
                            </a:moveTo>
                            <a:lnTo>
                              <a:pt x="118" y="92"/>
                            </a:lnTo>
                            <a:lnTo>
                              <a:pt x="0" y="0"/>
                            </a:lnTo>
                            <a:lnTo>
                              <a:pt x="0" y="324"/>
                            </a:lnTo>
                            <a:lnTo>
                              <a:pt x="100" y="352"/>
                            </a:lnTo>
                            <a:lnTo>
                              <a:pt x="110" y="436"/>
                            </a:lnTo>
                            <a:lnTo>
                              <a:pt x="284" y="468"/>
                            </a:lnTo>
                            <a:lnTo>
                              <a:pt x="400" y="452"/>
                            </a:lnTo>
                            <a:lnTo>
                              <a:pt x="532" y="486"/>
                            </a:lnTo>
                            <a:lnTo>
                              <a:pt x="524" y="460"/>
                            </a:lnTo>
                            <a:lnTo>
                              <a:pt x="584" y="118"/>
                            </a:lnTo>
                            <a:lnTo>
                              <a:pt x="588" y="118"/>
                            </a:lnTo>
                            <a:lnTo>
                              <a:pt x="588" y="116"/>
                            </a:lnTo>
                            <a:lnTo>
                              <a:pt x="198" y="12"/>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191" name="Freeform 2975"/>
                      <p:cNvSpPr>
                        <a:spLocks/>
                      </p:cNvSpPr>
                      <p:nvPr/>
                    </p:nvSpPr>
                    <p:spPr bwMode="auto">
                      <a:xfrm>
                        <a:off x="1412" y="1053"/>
                        <a:ext cx="8" cy="26"/>
                      </a:xfrm>
                      <a:custGeom>
                        <a:avLst/>
                        <a:gdLst/>
                        <a:ahLst/>
                        <a:cxnLst>
                          <a:cxn ang="0">
                            <a:pos x="8" y="26"/>
                          </a:cxn>
                          <a:cxn ang="0">
                            <a:pos x="0" y="0"/>
                          </a:cxn>
                          <a:cxn ang="0">
                            <a:pos x="8" y="26"/>
                          </a:cxn>
                          <a:cxn ang="0">
                            <a:pos x="8" y="26"/>
                          </a:cxn>
                        </a:cxnLst>
                        <a:rect l="0" t="0" r="r" b="b"/>
                        <a:pathLst>
                          <a:path w="8" h="26">
                            <a:moveTo>
                              <a:pt x="8" y="26"/>
                            </a:moveTo>
                            <a:lnTo>
                              <a:pt x="0" y="0"/>
                            </a:lnTo>
                            <a:lnTo>
                              <a:pt x="8" y="26"/>
                            </a:lnTo>
                            <a:lnTo>
                              <a:pt x="8" y="2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2" name="Freeform 2979"/>
                      <p:cNvSpPr>
                        <a:spLocks/>
                      </p:cNvSpPr>
                      <p:nvPr/>
                    </p:nvSpPr>
                    <p:spPr bwMode="auto">
                      <a:xfrm>
                        <a:off x="1594" y="1057"/>
                        <a:ext cx="182" cy="296"/>
                      </a:xfrm>
                      <a:custGeom>
                        <a:avLst/>
                        <a:gdLst/>
                        <a:ahLst/>
                        <a:cxnLst>
                          <a:cxn ang="0">
                            <a:pos x="50" y="126"/>
                          </a:cxn>
                          <a:cxn ang="0">
                            <a:pos x="40" y="188"/>
                          </a:cxn>
                          <a:cxn ang="0">
                            <a:pos x="112" y="296"/>
                          </a:cxn>
                          <a:cxn ang="0">
                            <a:pos x="182" y="284"/>
                          </a:cxn>
                          <a:cxn ang="0">
                            <a:pos x="118" y="292"/>
                          </a:cxn>
                          <a:cxn ang="0">
                            <a:pos x="48" y="188"/>
                          </a:cxn>
                          <a:cxn ang="0">
                            <a:pos x="56" y="118"/>
                          </a:cxn>
                          <a:cxn ang="0">
                            <a:pos x="8" y="130"/>
                          </a:cxn>
                          <a:cxn ang="0">
                            <a:pos x="38" y="0"/>
                          </a:cxn>
                          <a:cxn ang="0">
                            <a:pos x="0" y="138"/>
                          </a:cxn>
                          <a:cxn ang="0">
                            <a:pos x="50" y="126"/>
                          </a:cxn>
                        </a:cxnLst>
                        <a:rect l="0" t="0" r="r" b="b"/>
                        <a:pathLst>
                          <a:path w="182" h="296">
                            <a:moveTo>
                              <a:pt x="50" y="126"/>
                            </a:moveTo>
                            <a:lnTo>
                              <a:pt x="40" y="188"/>
                            </a:lnTo>
                            <a:lnTo>
                              <a:pt x="112" y="296"/>
                            </a:lnTo>
                            <a:lnTo>
                              <a:pt x="182" y="284"/>
                            </a:lnTo>
                            <a:lnTo>
                              <a:pt x="118" y="292"/>
                            </a:lnTo>
                            <a:lnTo>
                              <a:pt x="48" y="188"/>
                            </a:lnTo>
                            <a:lnTo>
                              <a:pt x="56" y="118"/>
                            </a:lnTo>
                            <a:lnTo>
                              <a:pt x="8" y="130"/>
                            </a:lnTo>
                            <a:lnTo>
                              <a:pt x="38" y="0"/>
                            </a:lnTo>
                            <a:lnTo>
                              <a:pt x="0" y="138"/>
                            </a:lnTo>
                            <a:lnTo>
                              <a:pt x="50" y="12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3" name="Freeform 2980"/>
                      <p:cNvSpPr>
                        <a:spLocks/>
                      </p:cNvSpPr>
                      <p:nvPr/>
                    </p:nvSpPr>
                    <p:spPr bwMode="auto">
                      <a:xfrm>
                        <a:off x="1706" y="1329"/>
                        <a:ext cx="130" cy="24"/>
                      </a:xfrm>
                      <a:custGeom>
                        <a:avLst/>
                        <a:gdLst/>
                        <a:ahLst/>
                        <a:cxnLst>
                          <a:cxn ang="0">
                            <a:pos x="92" y="14"/>
                          </a:cxn>
                          <a:cxn ang="0">
                            <a:pos x="130" y="0"/>
                          </a:cxn>
                          <a:cxn ang="0">
                            <a:pos x="98" y="6"/>
                          </a:cxn>
                          <a:cxn ang="0">
                            <a:pos x="90" y="8"/>
                          </a:cxn>
                          <a:cxn ang="0">
                            <a:pos x="70" y="12"/>
                          </a:cxn>
                          <a:cxn ang="0">
                            <a:pos x="0" y="24"/>
                          </a:cxn>
                          <a:cxn ang="0">
                            <a:pos x="92" y="14"/>
                          </a:cxn>
                        </a:cxnLst>
                        <a:rect l="0" t="0" r="r" b="b"/>
                        <a:pathLst>
                          <a:path w="130" h="24">
                            <a:moveTo>
                              <a:pt x="92" y="14"/>
                            </a:moveTo>
                            <a:lnTo>
                              <a:pt x="130" y="0"/>
                            </a:lnTo>
                            <a:lnTo>
                              <a:pt x="98" y="6"/>
                            </a:lnTo>
                            <a:lnTo>
                              <a:pt x="90" y="8"/>
                            </a:lnTo>
                            <a:lnTo>
                              <a:pt x="70" y="12"/>
                            </a:lnTo>
                            <a:lnTo>
                              <a:pt x="0" y="24"/>
                            </a:lnTo>
                            <a:lnTo>
                              <a:pt x="92" y="1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4" name="Freeform 2981"/>
                      <p:cNvSpPr>
                        <a:spLocks/>
                      </p:cNvSpPr>
                      <p:nvPr/>
                    </p:nvSpPr>
                    <p:spPr bwMode="auto">
                      <a:xfrm>
                        <a:off x="1868" y="875"/>
                        <a:ext cx="606" cy="476"/>
                      </a:xfrm>
                      <a:custGeom>
                        <a:avLst/>
                        <a:gdLst/>
                        <a:ahLst/>
                        <a:cxnLst>
                          <a:cxn ang="0">
                            <a:pos x="600" y="452"/>
                          </a:cxn>
                          <a:cxn ang="0">
                            <a:pos x="6" y="414"/>
                          </a:cxn>
                          <a:cxn ang="0">
                            <a:pos x="0" y="476"/>
                          </a:cxn>
                          <a:cxn ang="0">
                            <a:pos x="12" y="420"/>
                          </a:cxn>
                          <a:cxn ang="0">
                            <a:pos x="606" y="460"/>
                          </a:cxn>
                          <a:cxn ang="0">
                            <a:pos x="604" y="0"/>
                          </a:cxn>
                          <a:cxn ang="0">
                            <a:pos x="600" y="452"/>
                          </a:cxn>
                        </a:cxnLst>
                        <a:rect l="0" t="0" r="r" b="b"/>
                        <a:pathLst>
                          <a:path w="606" h="476">
                            <a:moveTo>
                              <a:pt x="600" y="452"/>
                            </a:moveTo>
                            <a:lnTo>
                              <a:pt x="6" y="414"/>
                            </a:lnTo>
                            <a:lnTo>
                              <a:pt x="0" y="476"/>
                            </a:lnTo>
                            <a:lnTo>
                              <a:pt x="12" y="420"/>
                            </a:lnTo>
                            <a:lnTo>
                              <a:pt x="606" y="460"/>
                            </a:lnTo>
                            <a:lnTo>
                              <a:pt x="604" y="0"/>
                            </a:lnTo>
                            <a:lnTo>
                              <a:pt x="600" y="45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5" name="Freeform 2982"/>
                      <p:cNvSpPr>
                        <a:spLocks/>
                      </p:cNvSpPr>
                      <p:nvPr/>
                    </p:nvSpPr>
                    <p:spPr bwMode="auto">
                      <a:xfrm>
                        <a:off x="2472" y="875"/>
                        <a:ext cx="614" cy="460"/>
                      </a:xfrm>
                      <a:custGeom>
                        <a:avLst/>
                        <a:gdLst/>
                        <a:ahLst/>
                        <a:cxnLst>
                          <a:cxn ang="0">
                            <a:pos x="612" y="358"/>
                          </a:cxn>
                          <a:cxn ang="0">
                            <a:pos x="614" y="354"/>
                          </a:cxn>
                          <a:cxn ang="0">
                            <a:pos x="2" y="356"/>
                          </a:cxn>
                          <a:cxn ang="0">
                            <a:pos x="6" y="2"/>
                          </a:cxn>
                          <a:cxn ang="0">
                            <a:pos x="0" y="0"/>
                          </a:cxn>
                          <a:cxn ang="0">
                            <a:pos x="2" y="460"/>
                          </a:cxn>
                          <a:cxn ang="0">
                            <a:pos x="2" y="360"/>
                          </a:cxn>
                          <a:cxn ang="0">
                            <a:pos x="612" y="358"/>
                          </a:cxn>
                        </a:cxnLst>
                        <a:rect l="0" t="0" r="r" b="b"/>
                        <a:pathLst>
                          <a:path w="614" h="460">
                            <a:moveTo>
                              <a:pt x="612" y="358"/>
                            </a:moveTo>
                            <a:lnTo>
                              <a:pt x="614" y="354"/>
                            </a:lnTo>
                            <a:lnTo>
                              <a:pt x="2" y="356"/>
                            </a:lnTo>
                            <a:lnTo>
                              <a:pt x="6" y="2"/>
                            </a:lnTo>
                            <a:lnTo>
                              <a:pt x="0" y="0"/>
                            </a:lnTo>
                            <a:lnTo>
                              <a:pt x="2" y="460"/>
                            </a:lnTo>
                            <a:lnTo>
                              <a:pt x="2" y="360"/>
                            </a:lnTo>
                            <a:lnTo>
                              <a:pt x="612" y="35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6" name="Freeform 2983"/>
                      <p:cNvSpPr>
                        <a:spLocks/>
                      </p:cNvSpPr>
                      <p:nvPr/>
                    </p:nvSpPr>
                    <p:spPr bwMode="auto">
                      <a:xfrm>
                        <a:off x="1804" y="1325"/>
                        <a:ext cx="62" cy="42"/>
                      </a:xfrm>
                      <a:custGeom>
                        <a:avLst/>
                        <a:gdLst/>
                        <a:ahLst/>
                        <a:cxnLst>
                          <a:cxn ang="0">
                            <a:pos x="0" y="10"/>
                          </a:cxn>
                          <a:cxn ang="0">
                            <a:pos x="32" y="4"/>
                          </a:cxn>
                          <a:cxn ang="0">
                            <a:pos x="60" y="42"/>
                          </a:cxn>
                          <a:cxn ang="0">
                            <a:pos x="62" y="34"/>
                          </a:cxn>
                          <a:cxn ang="0">
                            <a:pos x="36" y="0"/>
                          </a:cxn>
                          <a:cxn ang="0">
                            <a:pos x="0" y="10"/>
                          </a:cxn>
                        </a:cxnLst>
                        <a:rect l="0" t="0" r="r" b="b"/>
                        <a:pathLst>
                          <a:path w="62" h="42">
                            <a:moveTo>
                              <a:pt x="0" y="10"/>
                            </a:moveTo>
                            <a:lnTo>
                              <a:pt x="32" y="4"/>
                            </a:lnTo>
                            <a:lnTo>
                              <a:pt x="60" y="42"/>
                            </a:lnTo>
                            <a:lnTo>
                              <a:pt x="62" y="34"/>
                            </a:lnTo>
                            <a:lnTo>
                              <a:pt x="36" y="0"/>
                            </a:lnTo>
                            <a:lnTo>
                              <a:pt x="0" y="1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7" name="Freeform 2984"/>
                      <p:cNvSpPr>
                        <a:spLocks/>
                      </p:cNvSpPr>
                      <p:nvPr/>
                    </p:nvSpPr>
                    <p:spPr bwMode="auto">
                      <a:xfrm>
                        <a:off x="1866" y="1351"/>
                        <a:ext cx="2" cy="10"/>
                      </a:xfrm>
                      <a:custGeom>
                        <a:avLst/>
                        <a:gdLst/>
                        <a:ahLst/>
                        <a:cxnLst>
                          <a:cxn ang="0">
                            <a:pos x="0" y="10"/>
                          </a:cxn>
                          <a:cxn ang="0">
                            <a:pos x="2" y="0"/>
                          </a:cxn>
                          <a:cxn ang="0">
                            <a:pos x="0" y="8"/>
                          </a:cxn>
                          <a:cxn ang="0">
                            <a:pos x="0" y="10"/>
                          </a:cxn>
                        </a:cxnLst>
                        <a:rect l="0" t="0" r="r" b="b"/>
                        <a:pathLst>
                          <a:path w="2" h="10">
                            <a:moveTo>
                              <a:pt x="0" y="10"/>
                            </a:moveTo>
                            <a:lnTo>
                              <a:pt x="2" y="0"/>
                            </a:lnTo>
                            <a:lnTo>
                              <a:pt x="0" y="8"/>
                            </a:lnTo>
                            <a:lnTo>
                              <a:pt x="0" y="1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8" name="Freeform 2985"/>
                      <p:cNvSpPr>
                        <a:spLocks/>
                      </p:cNvSpPr>
                      <p:nvPr/>
                    </p:nvSpPr>
                    <p:spPr bwMode="auto">
                      <a:xfrm>
                        <a:off x="1776" y="1335"/>
                        <a:ext cx="28" cy="6"/>
                      </a:xfrm>
                      <a:custGeom>
                        <a:avLst/>
                        <a:gdLst/>
                        <a:ahLst/>
                        <a:cxnLst>
                          <a:cxn ang="0">
                            <a:pos x="28" y="0"/>
                          </a:cxn>
                          <a:cxn ang="0">
                            <a:pos x="0" y="6"/>
                          </a:cxn>
                          <a:cxn ang="0">
                            <a:pos x="20" y="2"/>
                          </a:cxn>
                          <a:cxn ang="0">
                            <a:pos x="28" y="0"/>
                          </a:cxn>
                        </a:cxnLst>
                        <a:rect l="0" t="0" r="r" b="b"/>
                        <a:pathLst>
                          <a:path w="28" h="6">
                            <a:moveTo>
                              <a:pt x="28" y="0"/>
                            </a:moveTo>
                            <a:lnTo>
                              <a:pt x="0" y="6"/>
                            </a:lnTo>
                            <a:lnTo>
                              <a:pt x="20" y="2"/>
                            </a:lnTo>
                            <a:lnTo>
                              <a:pt x="28"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199" name="Freeform 2986"/>
                      <p:cNvSpPr>
                        <a:spLocks/>
                      </p:cNvSpPr>
                      <p:nvPr/>
                    </p:nvSpPr>
                    <p:spPr bwMode="auto">
                      <a:xfrm>
                        <a:off x="1340" y="709"/>
                        <a:ext cx="524" cy="966"/>
                      </a:xfrm>
                      <a:custGeom>
                        <a:avLst/>
                        <a:gdLst/>
                        <a:ahLst/>
                        <a:cxnLst>
                          <a:cxn ang="0">
                            <a:pos x="458" y="634"/>
                          </a:cxn>
                          <a:cxn ang="0">
                            <a:pos x="366" y="644"/>
                          </a:cxn>
                          <a:cxn ang="0">
                            <a:pos x="294" y="536"/>
                          </a:cxn>
                          <a:cxn ang="0">
                            <a:pos x="304" y="474"/>
                          </a:cxn>
                          <a:cxn ang="0">
                            <a:pos x="254" y="486"/>
                          </a:cxn>
                          <a:cxn ang="0">
                            <a:pos x="284" y="348"/>
                          </a:cxn>
                          <a:cxn ang="0">
                            <a:pos x="256" y="334"/>
                          </a:cxn>
                          <a:cxn ang="0">
                            <a:pos x="184" y="168"/>
                          </a:cxn>
                          <a:cxn ang="0">
                            <a:pos x="210" y="24"/>
                          </a:cxn>
                          <a:cxn ang="0">
                            <a:pos x="212" y="26"/>
                          </a:cxn>
                          <a:cxn ang="0">
                            <a:pos x="214" y="22"/>
                          </a:cxn>
                          <a:cxn ang="0">
                            <a:pos x="136" y="0"/>
                          </a:cxn>
                          <a:cxn ang="0">
                            <a:pos x="136" y="2"/>
                          </a:cxn>
                          <a:cxn ang="0">
                            <a:pos x="140" y="4"/>
                          </a:cxn>
                          <a:cxn ang="0">
                            <a:pos x="78" y="344"/>
                          </a:cxn>
                          <a:cxn ang="0">
                            <a:pos x="108" y="438"/>
                          </a:cxn>
                          <a:cxn ang="0">
                            <a:pos x="40" y="574"/>
                          </a:cxn>
                          <a:cxn ang="0">
                            <a:pos x="50" y="600"/>
                          </a:cxn>
                          <a:cxn ang="0">
                            <a:pos x="0" y="866"/>
                          </a:cxn>
                          <a:cxn ang="0">
                            <a:pos x="496" y="966"/>
                          </a:cxn>
                          <a:cxn ang="0">
                            <a:pos x="524" y="658"/>
                          </a:cxn>
                          <a:cxn ang="0">
                            <a:pos x="496" y="620"/>
                          </a:cxn>
                          <a:cxn ang="0">
                            <a:pos x="458" y="634"/>
                          </a:cxn>
                        </a:cxnLst>
                        <a:rect l="0" t="0" r="r" b="b"/>
                        <a:pathLst>
                          <a:path w="524" h="966">
                            <a:moveTo>
                              <a:pt x="458" y="634"/>
                            </a:moveTo>
                            <a:lnTo>
                              <a:pt x="366" y="644"/>
                            </a:lnTo>
                            <a:lnTo>
                              <a:pt x="294" y="536"/>
                            </a:lnTo>
                            <a:lnTo>
                              <a:pt x="304" y="474"/>
                            </a:lnTo>
                            <a:lnTo>
                              <a:pt x="254" y="486"/>
                            </a:lnTo>
                            <a:lnTo>
                              <a:pt x="284" y="348"/>
                            </a:lnTo>
                            <a:lnTo>
                              <a:pt x="256" y="334"/>
                            </a:lnTo>
                            <a:lnTo>
                              <a:pt x="184" y="168"/>
                            </a:lnTo>
                            <a:lnTo>
                              <a:pt x="210" y="24"/>
                            </a:lnTo>
                            <a:lnTo>
                              <a:pt x="212" y="26"/>
                            </a:lnTo>
                            <a:lnTo>
                              <a:pt x="214" y="22"/>
                            </a:lnTo>
                            <a:lnTo>
                              <a:pt x="136" y="0"/>
                            </a:lnTo>
                            <a:lnTo>
                              <a:pt x="136" y="2"/>
                            </a:lnTo>
                            <a:lnTo>
                              <a:pt x="140" y="4"/>
                            </a:lnTo>
                            <a:lnTo>
                              <a:pt x="78" y="344"/>
                            </a:lnTo>
                            <a:lnTo>
                              <a:pt x="108" y="438"/>
                            </a:lnTo>
                            <a:lnTo>
                              <a:pt x="40" y="574"/>
                            </a:lnTo>
                            <a:lnTo>
                              <a:pt x="50" y="600"/>
                            </a:lnTo>
                            <a:lnTo>
                              <a:pt x="0" y="866"/>
                            </a:lnTo>
                            <a:lnTo>
                              <a:pt x="496" y="966"/>
                            </a:lnTo>
                            <a:lnTo>
                              <a:pt x="524" y="658"/>
                            </a:lnTo>
                            <a:lnTo>
                              <a:pt x="496" y="620"/>
                            </a:lnTo>
                            <a:lnTo>
                              <a:pt x="458" y="634"/>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200" name="Freeform 2987"/>
                      <p:cNvSpPr>
                        <a:spLocks/>
                      </p:cNvSpPr>
                      <p:nvPr/>
                    </p:nvSpPr>
                    <p:spPr bwMode="auto">
                      <a:xfrm>
                        <a:off x="3108" y="1621"/>
                        <a:ext cx="118" cy="318"/>
                      </a:xfrm>
                      <a:custGeom>
                        <a:avLst/>
                        <a:gdLst/>
                        <a:ahLst/>
                        <a:cxnLst>
                          <a:cxn ang="0">
                            <a:pos x="94" y="254"/>
                          </a:cxn>
                          <a:cxn ang="0">
                            <a:pos x="94" y="256"/>
                          </a:cxn>
                          <a:cxn ang="0">
                            <a:pos x="96" y="256"/>
                          </a:cxn>
                          <a:cxn ang="0">
                            <a:pos x="118" y="318"/>
                          </a:cxn>
                          <a:cxn ang="0">
                            <a:pos x="0" y="0"/>
                          </a:cxn>
                          <a:cxn ang="0">
                            <a:pos x="94" y="254"/>
                          </a:cxn>
                          <a:cxn ang="0">
                            <a:pos x="94" y="254"/>
                          </a:cxn>
                        </a:cxnLst>
                        <a:rect l="0" t="0" r="r" b="b"/>
                        <a:pathLst>
                          <a:path w="118" h="318">
                            <a:moveTo>
                              <a:pt x="94" y="254"/>
                            </a:moveTo>
                            <a:lnTo>
                              <a:pt x="94" y="256"/>
                            </a:lnTo>
                            <a:lnTo>
                              <a:pt x="96" y="256"/>
                            </a:lnTo>
                            <a:lnTo>
                              <a:pt x="118" y="318"/>
                            </a:lnTo>
                            <a:lnTo>
                              <a:pt x="0" y="0"/>
                            </a:lnTo>
                            <a:lnTo>
                              <a:pt x="94" y="254"/>
                            </a:lnTo>
                            <a:lnTo>
                              <a:pt x="94" y="25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1" name="Freeform 2988"/>
                      <p:cNvSpPr>
                        <a:spLocks/>
                      </p:cNvSpPr>
                      <p:nvPr/>
                    </p:nvSpPr>
                    <p:spPr bwMode="auto">
                      <a:xfrm>
                        <a:off x="3098" y="1295"/>
                        <a:ext cx="10" cy="326"/>
                      </a:xfrm>
                      <a:custGeom>
                        <a:avLst/>
                        <a:gdLst/>
                        <a:ahLst/>
                        <a:cxnLst>
                          <a:cxn ang="0">
                            <a:pos x="6" y="188"/>
                          </a:cxn>
                          <a:cxn ang="0">
                            <a:pos x="6" y="188"/>
                          </a:cxn>
                          <a:cxn ang="0">
                            <a:pos x="10" y="326"/>
                          </a:cxn>
                          <a:cxn ang="0">
                            <a:pos x="0" y="0"/>
                          </a:cxn>
                          <a:cxn ang="0">
                            <a:pos x="6" y="186"/>
                          </a:cxn>
                          <a:cxn ang="0">
                            <a:pos x="6" y="188"/>
                          </a:cxn>
                        </a:cxnLst>
                        <a:rect l="0" t="0" r="r" b="b"/>
                        <a:pathLst>
                          <a:path w="10" h="326">
                            <a:moveTo>
                              <a:pt x="6" y="188"/>
                            </a:moveTo>
                            <a:lnTo>
                              <a:pt x="6" y="188"/>
                            </a:lnTo>
                            <a:lnTo>
                              <a:pt x="10" y="326"/>
                            </a:lnTo>
                            <a:lnTo>
                              <a:pt x="0" y="0"/>
                            </a:lnTo>
                            <a:lnTo>
                              <a:pt x="6" y="186"/>
                            </a:lnTo>
                            <a:lnTo>
                              <a:pt x="6" y="18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2" name="Freeform 2989"/>
                      <p:cNvSpPr>
                        <a:spLocks/>
                      </p:cNvSpPr>
                      <p:nvPr/>
                    </p:nvSpPr>
                    <p:spPr bwMode="auto">
                      <a:xfrm>
                        <a:off x="2468" y="877"/>
                        <a:ext cx="648" cy="972"/>
                      </a:xfrm>
                      <a:custGeom>
                        <a:avLst/>
                        <a:gdLst/>
                        <a:ahLst/>
                        <a:cxnLst>
                          <a:cxn ang="0">
                            <a:pos x="478" y="708"/>
                          </a:cxn>
                          <a:cxn ang="0">
                            <a:pos x="648" y="766"/>
                          </a:cxn>
                          <a:cxn ang="0">
                            <a:pos x="646" y="758"/>
                          </a:cxn>
                          <a:cxn ang="0">
                            <a:pos x="478" y="704"/>
                          </a:cxn>
                          <a:cxn ang="0">
                            <a:pos x="4" y="706"/>
                          </a:cxn>
                          <a:cxn ang="0">
                            <a:pos x="8" y="458"/>
                          </a:cxn>
                          <a:cxn ang="0">
                            <a:pos x="6" y="458"/>
                          </a:cxn>
                          <a:cxn ang="0">
                            <a:pos x="6" y="358"/>
                          </a:cxn>
                          <a:cxn ang="0">
                            <a:pos x="616" y="356"/>
                          </a:cxn>
                          <a:cxn ang="0">
                            <a:pos x="618" y="352"/>
                          </a:cxn>
                          <a:cxn ang="0">
                            <a:pos x="6" y="354"/>
                          </a:cxn>
                          <a:cxn ang="0">
                            <a:pos x="10" y="0"/>
                          </a:cxn>
                          <a:cxn ang="0">
                            <a:pos x="8" y="0"/>
                          </a:cxn>
                          <a:cxn ang="0">
                            <a:pos x="0" y="972"/>
                          </a:cxn>
                          <a:cxn ang="0">
                            <a:pos x="4" y="710"/>
                          </a:cxn>
                          <a:cxn ang="0">
                            <a:pos x="478" y="708"/>
                          </a:cxn>
                        </a:cxnLst>
                        <a:rect l="0" t="0" r="r" b="b"/>
                        <a:pathLst>
                          <a:path w="648" h="972">
                            <a:moveTo>
                              <a:pt x="478" y="708"/>
                            </a:moveTo>
                            <a:lnTo>
                              <a:pt x="648" y="766"/>
                            </a:lnTo>
                            <a:lnTo>
                              <a:pt x="646" y="758"/>
                            </a:lnTo>
                            <a:lnTo>
                              <a:pt x="478" y="704"/>
                            </a:lnTo>
                            <a:lnTo>
                              <a:pt x="4" y="706"/>
                            </a:lnTo>
                            <a:lnTo>
                              <a:pt x="8" y="458"/>
                            </a:lnTo>
                            <a:lnTo>
                              <a:pt x="6" y="458"/>
                            </a:lnTo>
                            <a:lnTo>
                              <a:pt x="6" y="358"/>
                            </a:lnTo>
                            <a:lnTo>
                              <a:pt x="616" y="356"/>
                            </a:lnTo>
                            <a:lnTo>
                              <a:pt x="618" y="352"/>
                            </a:lnTo>
                            <a:lnTo>
                              <a:pt x="6" y="354"/>
                            </a:lnTo>
                            <a:lnTo>
                              <a:pt x="10" y="0"/>
                            </a:lnTo>
                            <a:lnTo>
                              <a:pt x="8" y="0"/>
                            </a:lnTo>
                            <a:lnTo>
                              <a:pt x="0" y="972"/>
                            </a:lnTo>
                            <a:lnTo>
                              <a:pt x="4" y="710"/>
                            </a:lnTo>
                            <a:lnTo>
                              <a:pt x="478" y="70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3" name="Freeform 2990"/>
                      <p:cNvSpPr>
                        <a:spLocks/>
                      </p:cNvSpPr>
                      <p:nvPr/>
                    </p:nvSpPr>
                    <p:spPr bwMode="auto">
                      <a:xfrm>
                        <a:off x="2632" y="1939"/>
                        <a:ext cx="602" cy="8"/>
                      </a:xfrm>
                      <a:custGeom>
                        <a:avLst/>
                        <a:gdLst/>
                        <a:ahLst/>
                        <a:cxnLst>
                          <a:cxn ang="0">
                            <a:pos x="602" y="6"/>
                          </a:cxn>
                          <a:cxn ang="0">
                            <a:pos x="594" y="0"/>
                          </a:cxn>
                          <a:cxn ang="0">
                            <a:pos x="0" y="8"/>
                          </a:cxn>
                          <a:cxn ang="0">
                            <a:pos x="602" y="6"/>
                          </a:cxn>
                        </a:cxnLst>
                        <a:rect l="0" t="0" r="r" b="b"/>
                        <a:pathLst>
                          <a:path w="602" h="8">
                            <a:moveTo>
                              <a:pt x="602" y="6"/>
                            </a:moveTo>
                            <a:lnTo>
                              <a:pt x="594" y="0"/>
                            </a:lnTo>
                            <a:lnTo>
                              <a:pt x="0" y="8"/>
                            </a:lnTo>
                            <a:lnTo>
                              <a:pt x="602"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4" name="Freeform 2991"/>
                      <p:cNvSpPr>
                        <a:spLocks/>
                      </p:cNvSpPr>
                      <p:nvPr/>
                    </p:nvSpPr>
                    <p:spPr bwMode="auto">
                      <a:xfrm>
                        <a:off x="3014" y="847"/>
                        <a:ext cx="74" cy="378"/>
                      </a:xfrm>
                      <a:custGeom>
                        <a:avLst/>
                        <a:gdLst/>
                        <a:ahLst/>
                        <a:cxnLst>
                          <a:cxn ang="0">
                            <a:pos x="74" y="378"/>
                          </a:cxn>
                          <a:cxn ang="0">
                            <a:pos x="2" y="0"/>
                          </a:cxn>
                          <a:cxn ang="0">
                            <a:pos x="0" y="0"/>
                          </a:cxn>
                          <a:cxn ang="0">
                            <a:pos x="74" y="378"/>
                          </a:cxn>
                        </a:cxnLst>
                        <a:rect l="0" t="0" r="r" b="b"/>
                        <a:pathLst>
                          <a:path w="74" h="378">
                            <a:moveTo>
                              <a:pt x="74" y="378"/>
                            </a:moveTo>
                            <a:lnTo>
                              <a:pt x="2" y="0"/>
                            </a:lnTo>
                            <a:lnTo>
                              <a:pt x="0" y="0"/>
                            </a:lnTo>
                            <a:lnTo>
                              <a:pt x="74" y="37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5" name="Freeform 2992"/>
                      <p:cNvSpPr>
                        <a:spLocks/>
                      </p:cNvSpPr>
                      <p:nvPr/>
                    </p:nvSpPr>
                    <p:spPr bwMode="auto">
                      <a:xfrm>
                        <a:off x="1529" y="729"/>
                        <a:ext cx="944" cy="628"/>
                      </a:xfrm>
                      <a:custGeom>
                        <a:avLst/>
                        <a:gdLst/>
                        <a:ahLst/>
                        <a:cxnLst>
                          <a:cxn ang="0">
                            <a:pos x="260" y="62"/>
                          </a:cxn>
                          <a:cxn ang="0">
                            <a:pos x="22" y="0"/>
                          </a:cxn>
                          <a:cxn ang="0">
                            <a:pos x="20" y="4"/>
                          </a:cxn>
                          <a:cxn ang="0">
                            <a:pos x="24" y="4"/>
                          </a:cxn>
                          <a:cxn ang="0">
                            <a:pos x="0" y="148"/>
                          </a:cxn>
                          <a:cxn ang="0">
                            <a:pos x="66" y="306"/>
                          </a:cxn>
                          <a:cxn ang="0">
                            <a:pos x="100" y="326"/>
                          </a:cxn>
                          <a:cxn ang="0">
                            <a:pos x="70" y="456"/>
                          </a:cxn>
                          <a:cxn ang="0">
                            <a:pos x="118" y="444"/>
                          </a:cxn>
                          <a:cxn ang="0">
                            <a:pos x="110" y="514"/>
                          </a:cxn>
                          <a:cxn ang="0">
                            <a:pos x="180" y="618"/>
                          </a:cxn>
                          <a:cxn ang="0">
                            <a:pos x="244" y="610"/>
                          </a:cxn>
                          <a:cxn ang="0">
                            <a:pos x="272" y="604"/>
                          </a:cxn>
                          <a:cxn ang="0">
                            <a:pos x="308" y="594"/>
                          </a:cxn>
                          <a:cxn ang="0">
                            <a:pos x="334" y="628"/>
                          </a:cxn>
                          <a:cxn ang="0">
                            <a:pos x="336" y="620"/>
                          </a:cxn>
                          <a:cxn ang="0">
                            <a:pos x="342" y="558"/>
                          </a:cxn>
                          <a:cxn ang="0">
                            <a:pos x="936" y="596"/>
                          </a:cxn>
                          <a:cxn ang="0">
                            <a:pos x="940" y="144"/>
                          </a:cxn>
                          <a:cxn ang="0">
                            <a:pos x="944" y="146"/>
                          </a:cxn>
                          <a:cxn ang="0">
                            <a:pos x="944" y="140"/>
                          </a:cxn>
                          <a:cxn ang="0">
                            <a:pos x="260" y="62"/>
                          </a:cxn>
                        </a:cxnLst>
                        <a:rect l="0" t="0" r="r" b="b"/>
                        <a:pathLst>
                          <a:path w="944" h="628">
                            <a:moveTo>
                              <a:pt x="260" y="62"/>
                            </a:moveTo>
                            <a:lnTo>
                              <a:pt x="22" y="0"/>
                            </a:lnTo>
                            <a:lnTo>
                              <a:pt x="20" y="4"/>
                            </a:lnTo>
                            <a:lnTo>
                              <a:pt x="24" y="4"/>
                            </a:lnTo>
                            <a:lnTo>
                              <a:pt x="0" y="148"/>
                            </a:lnTo>
                            <a:lnTo>
                              <a:pt x="66" y="306"/>
                            </a:lnTo>
                            <a:lnTo>
                              <a:pt x="100" y="326"/>
                            </a:lnTo>
                            <a:lnTo>
                              <a:pt x="70" y="456"/>
                            </a:lnTo>
                            <a:lnTo>
                              <a:pt x="118" y="444"/>
                            </a:lnTo>
                            <a:lnTo>
                              <a:pt x="110" y="514"/>
                            </a:lnTo>
                            <a:lnTo>
                              <a:pt x="180" y="618"/>
                            </a:lnTo>
                            <a:lnTo>
                              <a:pt x="244" y="610"/>
                            </a:lnTo>
                            <a:lnTo>
                              <a:pt x="272" y="604"/>
                            </a:lnTo>
                            <a:lnTo>
                              <a:pt x="308" y="594"/>
                            </a:lnTo>
                            <a:lnTo>
                              <a:pt x="334" y="628"/>
                            </a:lnTo>
                            <a:lnTo>
                              <a:pt x="336" y="620"/>
                            </a:lnTo>
                            <a:lnTo>
                              <a:pt x="342" y="558"/>
                            </a:lnTo>
                            <a:lnTo>
                              <a:pt x="936" y="596"/>
                            </a:lnTo>
                            <a:lnTo>
                              <a:pt x="940" y="144"/>
                            </a:lnTo>
                            <a:lnTo>
                              <a:pt x="944" y="146"/>
                            </a:lnTo>
                            <a:lnTo>
                              <a:pt x="944" y="140"/>
                            </a:lnTo>
                            <a:lnTo>
                              <a:pt x="260" y="62"/>
                            </a:lnTo>
                            <a:close/>
                          </a:path>
                        </a:pathLst>
                      </a:custGeom>
                      <a:solidFill>
                        <a:srgbClr val="FFC000"/>
                      </a:solidFill>
                      <a:ln w="0">
                        <a:solidFill>
                          <a:schemeClr val="bg1"/>
                        </a:solidFill>
                        <a:prstDash val="solid"/>
                        <a:round/>
                        <a:headEnd/>
                        <a:tailEnd/>
                      </a:ln>
                    </p:spPr>
                    <p:txBody>
                      <a:bodyPr/>
                      <a:lstStyle/>
                      <a:p>
                        <a:pPr>
                          <a:defRPr/>
                        </a:pPr>
                        <a:endParaRPr lang="da-DK" sz="800">
                          <a:solidFill>
                            <a:prstClr val="black"/>
                          </a:solidFill>
                        </a:endParaRPr>
                      </a:p>
                    </p:txBody>
                  </p:sp>
                  <p:sp>
                    <p:nvSpPr>
                      <p:cNvPr id="206" name="Freeform 2993"/>
                      <p:cNvSpPr>
                        <a:spLocks/>
                      </p:cNvSpPr>
                      <p:nvPr/>
                    </p:nvSpPr>
                    <p:spPr bwMode="auto">
                      <a:xfrm>
                        <a:off x="2946" y="1581"/>
                        <a:ext cx="168" cy="56"/>
                      </a:xfrm>
                      <a:custGeom>
                        <a:avLst/>
                        <a:gdLst/>
                        <a:ahLst/>
                        <a:cxnLst>
                          <a:cxn ang="0">
                            <a:pos x="0" y="0"/>
                          </a:cxn>
                          <a:cxn ang="0">
                            <a:pos x="168" y="56"/>
                          </a:cxn>
                          <a:cxn ang="0">
                            <a:pos x="168" y="54"/>
                          </a:cxn>
                          <a:cxn ang="0">
                            <a:pos x="0" y="0"/>
                          </a:cxn>
                        </a:cxnLst>
                        <a:rect l="0" t="0" r="r" b="b"/>
                        <a:pathLst>
                          <a:path w="168" h="56">
                            <a:moveTo>
                              <a:pt x="0" y="0"/>
                            </a:moveTo>
                            <a:lnTo>
                              <a:pt x="168" y="56"/>
                            </a:lnTo>
                            <a:lnTo>
                              <a:pt x="168" y="54"/>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7" name="Freeform 2994"/>
                      <p:cNvSpPr>
                        <a:spLocks/>
                      </p:cNvSpPr>
                      <p:nvPr/>
                    </p:nvSpPr>
                    <p:spPr bwMode="auto">
                      <a:xfrm>
                        <a:off x="2474" y="843"/>
                        <a:ext cx="614" cy="388"/>
                      </a:xfrm>
                      <a:custGeom>
                        <a:avLst/>
                        <a:gdLst/>
                        <a:ahLst/>
                        <a:cxnLst>
                          <a:cxn ang="0">
                            <a:pos x="614" y="382"/>
                          </a:cxn>
                          <a:cxn ang="0">
                            <a:pos x="540" y="4"/>
                          </a:cxn>
                          <a:cxn ang="0">
                            <a:pos x="542" y="4"/>
                          </a:cxn>
                          <a:cxn ang="0">
                            <a:pos x="542" y="0"/>
                          </a:cxn>
                          <a:cxn ang="0">
                            <a:pos x="26" y="32"/>
                          </a:cxn>
                          <a:cxn ang="0">
                            <a:pos x="2" y="28"/>
                          </a:cxn>
                          <a:cxn ang="0">
                            <a:pos x="2" y="34"/>
                          </a:cxn>
                          <a:cxn ang="0">
                            <a:pos x="4" y="34"/>
                          </a:cxn>
                          <a:cxn ang="0">
                            <a:pos x="0" y="388"/>
                          </a:cxn>
                          <a:cxn ang="0">
                            <a:pos x="612" y="386"/>
                          </a:cxn>
                          <a:cxn ang="0">
                            <a:pos x="610" y="388"/>
                          </a:cxn>
                          <a:cxn ang="0">
                            <a:pos x="610" y="388"/>
                          </a:cxn>
                          <a:cxn ang="0">
                            <a:pos x="614" y="382"/>
                          </a:cxn>
                        </a:cxnLst>
                        <a:rect l="0" t="0" r="r" b="b"/>
                        <a:pathLst>
                          <a:path w="614" h="388">
                            <a:moveTo>
                              <a:pt x="614" y="382"/>
                            </a:moveTo>
                            <a:lnTo>
                              <a:pt x="540" y="4"/>
                            </a:lnTo>
                            <a:lnTo>
                              <a:pt x="542" y="4"/>
                            </a:lnTo>
                            <a:lnTo>
                              <a:pt x="542" y="0"/>
                            </a:lnTo>
                            <a:lnTo>
                              <a:pt x="26" y="32"/>
                            </a:lnTo>
                            <a:lnTo>
                              <a:pt x="2" y="28"/>
                            </a:lnTo>
                            <a:lnTo>
                              <a:pt x="2" y="34"/>
                            </a:lnTo>
                            <a:lnTo>
                              <a:pt x="4" y="34"/>
                            </a:lnTo>
                            <a:lnTo>
                              <a:pt x="0" y="388"/>
                            </a:lnTo>
                            <a:lnTo>
                              <a:pt x="612" y="386"/>
                            </a:lnTo>
                            <a:lnTo>
                              <a:pt x="610" y="388"/>
                            </a:lnTo>
                            <a:lnTo>
                              <a:pt x="610" y="388"/>
                            </a:lnTo>
                            <a:lnTo>
                              <a:pt x="614" y="38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8" name="Freeform 2995"/>
                      <p:cNvSpPr>
                        <a:spLocks/>
                      </p:cNvSpPr>
                      <p:nvPr/>
                    </p:nvSpPr>
                    <p:spPr bwMode="auto">
                      <a:xfrm>
                        <a:off x="2468" y="1585"/>
                        <a:ext cx="758" cy="362"/>
                      </a:xfrm>
                      <a:custGeom>
                        <a:avLst/>
                        <a:gdLst/>
                        <a:ahLst/>
                        <a:cxnLst>
                          <a:cxn ang="0">
                            <a:pos x="736" y="292"/>
                          </a:cxn>
                          <a:cxn ang="0">
                            <a:pos x="734" y="292"/>
                          </a:cxn>
                          <a:cxn ang="0">
                            <a:pos x="734" y="290"/>
                          </a:cxn>
                          <a:cxn ang="0">
                            <a:pos x="734" y="290"/>
                          </a:cxn>
                          <a:cxn ang="0">
                            <a:pos x="646" y="52"/>
                          </a:cxn>
                          <a:cxn ang="0">
                            <a:pos x="646" y="52"/>
                          </a:cxn>
                          <a:cxn ang="0">
                            <a:pos x="648" y="58"/>
                          </a:cxn>
                          <a:cxn ang="0">
                            <a:pos x="478" y="0"/>
                          </a:cxn>
                          <a:cxn ang="0">
                            <a:pos x="4" y="2"/>
                          </a:cxn>
                          <a:cxn ang="0">
                            <a:pos x="0" y="264"/>
                          </a:cxn>
                          <a:cxn ang="0">
                            <a:pos x="158" y="268"/>
                          </a:cxn>
                          <a:cxn ang="0">
                            <a:pos x="164" y="362"/>
                          </a:cxn>
                          <a:cxn ang="0">
                            <a:pos x="758" y="354"/>
                          </a:cxn>
                          <a:cxn ang="0">
                            <a:pos x="736" y="292"/>
                          </a:cxn>
                        </a:cxnLst>
                        <a:rect l="0" t="0" r="r" b="b"/>
                        <a:pathLst>
                          <a:path w="758" h="362">
                            <a:moveTo>
                              <a:pt x="736" y="292"/>
                            </a:moveTo>
                            <a:lnTo>
                              <a:pt x="734" y="292"/>
                            </a:lnTo>
                            <a:lnTo>
                              <a:pt x="734" y="290"/>
                            </a:lnTo>
                            <a:lnTo>
                              <a:pt x="734" y="290"/>
                            </a:lnTo>
                            <a:lnTo>
                              <a:pt x="646" y="52"/>
                            </a:lnTo>
                            <a:lnTo>
                              <a:pt x="646" y="52"/>
                            </a:lnTo>
                            <a:lnTo>
                              <a:pt x="648" y="58"/>
                            </a:lnTo>
                            <a:lnTo>
                              <a:pt x="478" y="0"/>
                            </a:lnTo>
                            <a:lnTo>
                              <a:pt x="4" y="2"/>
                            </a:lnTo>
                            <a:lnTo>
                              <a:pt x="0" y="264"/>
                            </a:lnTo>
                            <a:lnTo>
                              <a:pt x="158" y="268"/>
                            </a:lnTo>
                            <a:lnTo>
                              <a:pt x="164" y="362"/>
                            </a:lnTo>
                            <a:lnTo>
                              <a:pt x="758" y="354"/>
                            </a:lnTo>
                            <a:lnTo>
                              <a:pt x="736" y="29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09" name="Freeform 2996"/>
                      <p:cNvSpPr>
                        <a:spLocks/>
                      </p:cNvSpPr>
                      <p:nvPr/>
                    </p:nvSpPr>
                    <p:spPr bwMode="auto">
                      <a:xfrm>
                        <a:off x="2472" y="1231"/>
                        <a:ext cx="642" cy="406"/>
                      </a:xfrm>
                      <a:custGeom>
                        <a:avLst/>
                        <a:gdLst/>
                        <a:ahLst/>
                        <a:cxnLst>
                          <a:cxn ang="0">
                            <a:pos x="636" y="390"/>
                          </a:cxn>
                          <a:cxn ang="0">
                            <a:pos x="632" y="252"/>
                          </a:cxn>
                          <a:cxn ang="0">
                            <a:pos x="632" y="252"/>
                          </a:cxn>
                          <a:cxn ang="0">
                            <a:pos x="632" y="250"/>
                          </a:cxn>
                          <a:cxn ang="0">
                            <a:pos x="626" y="64"/>
                          </a:cxn>
                          <a:cxn ang="0">
                            <a:pos x="596" y="26"/>
                          </a:cxn>
                          <a:cxn ang="0">
                            <a:pos x="612" y="0"/>
                          </a:cxn>
                          <a:cxn ang="0">
                            <a:pos x="612" y="0"/>
                          </a:cxn>
                          <a:cxn ang="0">
                            <a:pos x="612" y="2"/>
                          </a:cxn>
                          <a:cxn ang="0">
                            <a:pos x="2" y="4"/>
                          </a:cxn>
                          <a:cxn ang="0">
                            <a:pos x="2" y="104"/>
                          </a:cxn>
                          <a:cxn ang="0">
                            <a:pos x="4" y="104"/>
                          </a:cxn>
                          <a:cxn ang="0">
                            <a:pos x="0" y="352"/>
                          </a:cxn>
                          <a:cxn ang="0">
                            <a:pos x="474" y="350"/>
                          </a:cxn>
                          <a:cxn ang="0">
                            <a:pos x="642" y="404"/>
                          </a:cxn>
                          <a:cxn ang="0">
                            <a:pos x="642" y="406"/>
                          </a:cxn>
                          <a:cxn ang="0">
                            <a:pos x="642" y="406"/>
                          </a:cxn>
                          <a:cxn ang="0">
                            <a:pos x="636" y="390"/>
                          </a:cxn>
                        </a:cxnLst>
                        <a:rect l="0" t="0" r="r" b="b"/>
                        <a:pathLst>
                          <a:path w="642" h="406">
                            <a:moveTo>
                              <a:pt x="636" y="390"/>
                            </a:moveTo>
                            <a:lnTo>
                              <a:pt x="632" y="252"/>
                            </a:lnTo>
                            <a:lnTo>
                              <a:pt x="632" y="252"/>
                            </a:lnTo>
                            <a:lnTo>
                              <a:pt x="632" y="250"/>
                            </a:lnTo>
                            <a:lnTo>
                              <a:pt x="626" y="64"/>
                            </a:lnTo>
                            <a:lnTo>
                              <a:pt x="596" y="26"/>
                            </a:lnTo>
                            <a:lnTo>
                              <a:pt x="612" y="0"/>
                            </a:lnTo>
                            <a:lnTo>
                              <a:pt x="612" y="0"/>
                            </a:lnTo>
                            <a:lnTo>
                              <a:pt x="612" y="2"/>
                            </a:lnTo>
                            <a:lnTo>
                              <a:pt x="2" y="4"/>
                            </a:lnTo>
                            <a:lnTo>
                              <a:pt x="2" y="104"/>
                            </a:lnTo>
                            <a:lnTo>
                              <a:pt x="4" y="104"/>
                            </a:lnTo>
                            <a:lnTo>
                              <a:pt x="0" y="352"/>
                            </a:lnTo>
                            <a:lnTo>
                              <a:pt x="474" y="350"/>
                            </a:lnTo>
                            <a:lnTo>
                              <a:pt x="642" y="404"/>
                            </a:lnTo>
                            <a:lnTo>
                              <a:pt x="642" y="406"/>
                            </a:lnTo>
                            <a:lnTo>
                              <a:pt x="642" y="406"/>
                            </a:lnTo>
                            <a:lnTo>
                              <a:pt x="636" y="39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0" name="Freeform 2997"/>
                      <p:cNvSpPr>
                        <a:spLocks/>
                      </p:cNvSpPr>
                      <p:nvPr/>
                    </p:nvSpPr>
                    <p:spPr bwMode="auto">
                      <a:xfrm>
                        <a:off x="3112" y="1457"/>
                        <a:ext cx="524" cy="418"/>
                      </a:xfrm>
                      <a:custGeom>
                        <a:avLst/>
                        <a:gdLst/>
                        <a:ahLst/>
                        <a:cxnLst>
                          <a:cxn ang="0">
                            <a:pos x="524" y="202"/>
                          </a:cxn>
                          <a:cxn ang="0">
                            <a:pos x="516" y="146"/>
                          </a:cxn>
                          <a:cxn ang="0">
                            <a:pos x="444" y="76"/>
                          </a:cxn>
                          <a:cxn ang="0">
                            <a:pos x="428" y="2"/>
                          </a:cxn>
                          <a:cxn ang="0">
                            <a:pos x="428" y="0"/>
                          </a:cxn>
                          <a:cxn ang="0">
                            <a:pos x="416" y="0"/>
                          </a:cxn>
                          <a:cxn ang="0">
                            <a:pos x="426" y="0"/>
                          </a:cxn>
                          <a:cxn ang="0">
                            <a:pos x="428" y="6"/>
                          </a:cxn>
                          <a:cxn ang="0">
                            <a:pos x="0" y="24"/>
                          </a:cxn>
                          <a:cxn ang="0">
                            <a:pos x="4" y="160"/>
                          </a:cxn>
                          <a:cxn ang="0">
                            <a:pos x="98" y="418"/>
                          </a:cxn>
                          <a:cxn ang="0">
                            <a:pos x="444" y="408"/>
                          </a:cxn>
                          <a:cxn ang="0">
                            <a:pos x="444" y="378"/>
                          </a:cxn>
                          <a:cxn ang="0">
                            <a:pos x="484" y="308"/>
                          </a:cxn>
                          <a:cxn ang="0">
                            <a:pos x="464" y="268"/>
                          </a:cxn>
                          <a:cxn ang="0">
                            <a:pos x="524" y="202"/>
                          </a:cxn>
                        </a:cxnLst>
                        <a:rect l="0" t="0" r="r" b="b"/>
                        <a:pathLst>
                          <a:path w="524" h="418">
                            <a:moveTo>
                              <a:pt x="524" y="202"/>
                            </a:moveTo>
                            <a:lnTo>
                              <a:pt x="516" y="146"/>
                            </a:lnTo>
                            <a:lnTo>
                              <a:pt x="444" y="76"/>
                            </a:lnTo>
                            <a:lnTo>
                              <a:pt x="428" y="2"/>
                            </a:lnTo>
                            <a:lnTo>
                              <a:pt x="428" y="0"/>
                            </a:lnTo>
                            <a:lnTo>
                              <a:pt x="416" y="0"/>
                            </a:lnTo>
                            <a:lnTo>
                              <a:pt x="426" y="0"/>
                            </a:lnTo>
                            <a:lnTo>
                              <a:pt x="428" y="6"/>
                            </a:lnTo>
                            <a:lnTo>
                              <a:pt x="0" y="24"/>
                            </a:lnTo>
                            <a:lnTo>
                              <a:pt x="4" y="160"/>
                            </a:lnTo>
                            <a:lnTo>
                              <a:pt x="98" y="418"/>
                            </a:lnTo>
                            <a:lnTo>
                              <a:pt x="444" y="408"/>
                            </a:lnTo>
                            <a:lnTo>
                              <a:pt x="444" y="378"/>
                            </a:lnTo>
                            <a:lnTo>
                              <a:pt x="484" y="308"/>
                            </a:lnTo>
                            <a:lnTo>
                              <a:pt x="464" y="268"/>
                            </a:lnTo>
                            <a:lnTo>
                              <a:pt x="524" y="20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1" name="Freeform 2998"/>
                      <p:cNvSpPr>
                        <a:spLocks/>
                      </p:cNvSpPr>
                      <p:nvPr/>
                    </p:nvSpPr>
                    <p:spPr bwMode="auto">
                      <a:xfrm>
                        <a:off x="3016" y="835"/>
                        <a:ext cx="586" cy="638"/>
                      </a:xfrm>
                      <a:custGeom>
                        <a:avLst/>
                        <a:gdLst/>
                        <a:ahLst/>
                        <a:cxnLst>
                          <a:cxn ang="0">
                            <a:pos x="514" y="566"/>
                          </a:cxn>
                          <a:cxn ang="0">
                            <a:pos x="376" y="482"/>
                          </a:cxn>
                          <a:cxn ang="0">
                            <a:pos x="346" y="344"/>
                          </a:cxn>
                          <a:cxn ang="0">
                            <a:pos x="386" y="302"/>
                          </a:cxn>
                          <a:cxn ang="0">
                            <a:pos x="424" y="214"/>
                          </a:cxn>
                          <a:cxn ang="0">
                            <a:pos x="418" y="216"/>
                          </a:cxn>
                          <a:cxn ang="0">
                            <a:pos x="506" y="108"/>
                          </a:cxn>
                          <a:cxn ang="0">
                            <a:pos x="586" y="54"/>
                          </a:cxn>
                          <a:cxn ang="0">
                            <a:pos x="406" y="54"/>
                          </a:cxn>
                          <a:cxn ang="0">
                            <a:pos x="158" y="0"/>
                          </a:cxn>
                          <a:cxn ang="0">
                            <a:pos x="0" y="8"/>
                          </a:cxn>
                          <a:cxn ang="0">
                            <a:pos x="0" y="12"/>
                          </a:cxn>
                          <a:cxn ang="0">
                            <a:pos x="4" y="14"/>
                          </a:cxn>
                          <a:cxn ang="0">
                            <a:pos x="78" y="390"/>
                          </a:cxn>
                          <a:cxn ang="0">
                            <a:pos x="60" y="422"/>
                          </a:cxn>
                          <a:cxn ang="0">
                            <a:pos x="90" y="460"/>
                          </a:cxn>
                          <a:cxn ang="0">
                            <a:pos x="96" y="638"/>
                          </a:cxn>
                          <a:cxn ang="0">
                            <a:pos x="512" y="622"/>
                          </a:cxn>
                          <a:cxn ang="0">
                            <a:pos x="524" y="622"/>
                          </a:cxn>
                          <a:cxn ang="0">
                            <a:pos x="514" y="566"/>
                          </a:cxn>
                        </a:cxnLst>
                        <a:rect l="0" t="0" r="r" b="b"/>
                        <a:pathLst>
                          <a:path w="586" h="638">
                            <a:moveTo>
                              <a:pt x="514" y="566"/>
                            </a:moveTo>
                            <a:lnTo>
                              <a:pt x="376" y="482"/>
                            </a:lnTo>
                            <a:lnTo>
                              <a:pt x="346" y="344"/>
                            </a:lnTo>
                            <a:lnTo>
                              <a:pt x="386" y="302"/>
                            </a:lnTo>
                            <a:lnTo>
                              <a:pt x="424" y="214"/>
                            </a:lnTo>
                            <a:lnTo>
                              <a:pt x="418" y="216"/>
                            </a:lnTo>
                            <a:lnTo>
                              <a:pt x="506" y="108"/>
                            </a:lnTo>
                            <a:lnTo>
                              <a:pt x="586" y="54"/>
                            </a:lnTo>
                            <a:lnTo>
                              <a:pt x="406" y="54"/>
                            </a:lnTo>
                            <a:lnTo>
                              <a:pt x="158" y="0"/>
                            </a:lnTo>
                            <a:lnTo>
                              <a:pt x="0" y="8"/>
                            </a:lnTo>
                            <a:lnTo>
                              <a:pt x="0" y="12"/>
                            </a:lnTo>
                            <a:lnTo>
                              <a:pt x="4" y="14"/>
                            </a:lnTo>
                            <a:lnTo>
                              <a:pt x="78" y="390"/>
                            </a:lnTo>
                            <a:lnTo>
                              <a:pt x="60" y="422"/>
                            </a:lnTo>
                            <a:lnTo>
                              <a:pt x="90" y="460"/>
                            </a:lnTo>
                            <a:lnTo>
                              <a:pt x="96" y="638"/>
                            </a:lnTo>
                            <a:lnTo>
                              <a:pt x="512" y="622"/>
                            </a:lnTo>
                            <a:lnTo>
                              <a:pt x="524" y="622"/>
                            </a:lnTo>
                            <a:lnTo>
                              <a:pt x="514" y="56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2" name="Freeform 2999"/>
                      <p:cNvSpPr>
                        <a:spLocks/>
                      </p:cNvSpPr>
                      <p:nvPr/>
                    </p:nvSpPr>
                    <p:spPr bwMode="auto">
                      <a:xfrm>
                        <a:off x="3686" y="2005"/>
                        <a:ext cx="82" cy="138"/>
                      </a:xfrm>
                      <a:custGeom>
                        <a:avLst/>
                        <a:gdLst/>
                        <a:ahLst/>
                        <a:cxnLst>
                          <a:cxn ang="0">
                            <a:pos x="4" y="84"/>
                          </a:cxn>
                          <a:cxn ang="0">
                            <a:pos x="4" y="0"/>
                          </a:cxn>
                          <a:cxn ang="0">
                            <a:pos x="0" y="84"/>
                          </a:cxn>
                          <a:cxn ang="0">
                            <a:pos x="82" y="138"/>
                          </a:cxn>
                          <a:cxn ang="0">
                            <a:pos x="4" y="84"/>
                          </a:cxn>
                        </a:cxnLst>
                        <a:rect l="0" t="0" r="r" b="b"/>
                        <a:pathLst>
                          <a:path w="82" h="138">
                            <a:moveTo>
                              <a:pt x="4" y="84"/>
                            </a:moveTo>
                            <a:lnTo>
                              <a:pt x="4" y="0"/>
                            </a:lnTo>
                            <a:lnTo>
                              <a:pt x="0" y="84"/>
                            </a:lnTo>
                            <a:lnTo>
                              <a:pt x="82" y="138"/>
                            </a:lnTo>
                            <a:lnTo>
                              <a:pt x="4" y="8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3" name="Freeform 3000"/>
                      <p:cNvSpPr>
                        <a:spLocks/>
                      </p:cNvSpPr>
                      <p:nvPr/>
                    </p:nvSpPr>
                    <p:spPr bwMode="auto">
                      <a:xfrm>
                        <a:off x="3686" y="2083"/>
                        <a:ext cx="234" cy="146"/>
                      </a:xfrm>
                      <a:custGeom>
                        <a:avLst/>
                        <a:gdLst/>
                        <a:ahLst/>
                        <a:cxnLst>
                          <a:cxn ang="0">
                            <a:pos x="110" y="146"/>
                          </a:cxn>
                          <a:cxn ang="0">
                            <a:pos x="132" y="102"/>
                          </a:cxn>
                          <a:cxn ang="0">
                            <a:pos x="182" y="128"/>
                          </a:cxn>
                          <a:cxn ang="0">
                            <a:pos x="224" y="72"/>
                          </a:cxn>
                          <a:cxn ang="0">
                            <a:pos x="234" y="0"/>
                          </a:cxn>
                          <a:cxn ang="0">
                            <a:pos x="222" y="72"/>
                          </a:cxn>
                          <a:cxn ang="0">
                            <a:pos x="182" y="124"/>
                          </a:cxn>
                          <a:cxn ang="0">
                            <a:pos x="132" y="96"/>
                          </a:cxn>
                          <a:cxn ang="0">
                            <a:pos x="110" y="138"/>
                          </a:cxn>
                          <a:cxn ang="0">
                            <a:pos x="82" y="60"/>
                          </a:cxn>
                          <a:cxn ang="0">
                            <a:pos x="0" y="6"/>
                          </a:cxn>
                          <a:cxn ang="0">
                            <a:pos x="80" y="64"/>
                          </a:cxn>
                          <a:cxn ang="0">
                            <a:pos x="110" y="146"/>
                          </a:cxn>
                        </a:cxnLst>
                        <a:rect l="0" t="0" r="r" b="b"/>
                        <a:pathLst>
                          <a:path w="234" h="146">
                            <a:moveTo>
                              <a:pt x="110" y="146"/>
                            </a:moveTo>
                            <a:lnTo>
                              <a:pt x="132" y="102"/>
                            </a:lnTo>
                            <a:lnTo>
                              <a:pt x="182" y="128"/>
                            </a:lnTo>
                            <a:lnTo>
                              <a:pt x="224" y="72"/>
                            </a:lnTo>
                            <a:lnTo>
                              <a:pt x="234" y="0"/>
                            </a:lnTo>
                            <a:lnTo>
                              <a:pt x="222" y="72"/>
                            </a:lnTo>
                            <a:lnTo>
                              <a:pt x="182" y="124"/>
                            </a:lnTo>
                            <a:lnTo>
                              <a:pt x="132" y="96"/>
                            </a:lnTo>
                            <a:lnTo>
                              <a:pt x="110" y="138"/>
                            </a:lnTo>
                            <a:lnTo>
                              <a:pt x="82" y="60"/>
                            </a:lnTo>
                            <a:lnTo>
                              <a:pt x="0" y="6"/>
                            </a:lnTo>
                            <a:lnTo>
                              <a:pt x="80" y="64"/>
                            </a:lnTo>
                            <a:lnTo>
                              <a:pt x="110" y="14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4" name="Freeform 3001"/>
                      <p:cNvSpPr>
                        <a:spLocks/>
                      </p:cNvSpPr>
                      <p:nvPr/>
                    </p:nvSpPr>
                    <p:spPr bwMode="auto">
                      <a:xfrm>
                        <a:off x="3908" y="1991"/>
                        <a:ext cx="28" cy="164"/>
                      </a:xfrm>
                      <a:custGeom>
                        <a:avLst/>
                        <a:gdLst/>
                        <a:ahLst/>
                        <a:cxnLst>
                          <a:cxn ang="0">
                            <a:pos x="0" y="164"/>
                          </a:cxn>
                          <a:cxn ang="0">
                            <a:pos x="12" y="92"/>
                          </a:cxn>
                          <a:cxn ang="0">
                            <a:pos x="14" y="82"/>
                          </a:cxn>
                          <a:cxn ang="0">
                            <a:pos x="16" y="72"/>
                          </a:cxn>
                          <a:cxn ang="0">
                            <a:pos x="28" y="0"/>
                          </a:cxn>
                          <a:cxn ang="0">
                            <a:pos x="8" y="82"/>
                          </a:cxn>
                          <a:cxn ang="0">
                            <a:pos x="0" y="164"/>
                          </a:cxn>
                        </a:cxnLst>
                        <a:rect l="0" t="0" r="r" b="b"/>
                        <a:pathLst>
                          <a:path w="28" h="164">
                            <a:moveTo>
                              <a:pt x="0" y="164"/>
                            </a:moveTo>
                            <a:lnTo>
                              <a:pt x="12" y="92"/>
                            </a:lnTo>
                            <a:lnTo>
                              <a:pt x="14" y="82"/>
                            </a:lnTo>
                            <a:lnTo>
                              <a:pt x="16" y="72"/>
                            </a:lnTo>
                            <a:lnTo>
                              <a:pt x="28" y="0"/>
                            </a:lnTo>
                            <a:lnTo>
                              <a:pt x="8" y="82"/>
                            </a:lnTo>
                            <a:lnTo>
                              <a:pt x="0" y="16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5" name="Freeform 3003"/>
                      <p:cNvSpPr>
                        <a:spLocks/>
                      </p:cNvSpPr>
                      <p:nvPr/>
                    </p:nvSpPr>
                    <p:spPr bwMode="auto">
                      <a:xfrm>
                        <a:off x="3920" y="2063"/>
                        <a:ext cx="4" cy="20"/>
                      </a:xfrm>
                      <a:custGeom>
                        <a:avLst/>
                        <a:gdLst/>
                        <a:ahLst/>
                        <a:cxnLst>
                          <a:cxn ang="0">
                            <a:pos x="0" y="20"/>
                          </a:cxn>
                          <a:cxn ang="0">
                            <a:pos x="4" y="0"/>
                          </a:cxn>
                          <a:cxn ang="0">
                            <a:pos x="2" y="10"/>
                          </a:cxn>
                          <a:cxn ang="0">
                            <a:pos x="0" y="20"/>
                          </a:cxn>
                        </a:cxnLst>
                        <a:rect l="0" t="0" r="r" b="b"/>
                        <a:pathLst>
                          <a:path w="4" h="20">
                            <a:moveTo>
                              <a:pt x="0" y="20"/>
                            </a:moveTo>
                            <a:lnTo>
                              <a:pt x="4" y="0"/>
                            </a:lnTo>
                            <a:lnTo>
                              <a:pt x="2" y="10"/>
                            </a:lnTo>
                            <a:lnTo>
                              <a:pt x="0" y="2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6" name="Freeform 3004"/>
                      <p:cNvSpPr>
                        <a:spLocks/>
                      </p:cNvSpPr>
                      <p:nvPr/>
                    </p:nvSpPr>
                    <p:spPr bwMode="auto">
                      <a:xfrm>
                        <a:off x="3968" y="2043"/>
                        <a:ext cx="104" cy="60"/>
                      </a:xfrm>
                      <a:custGeom>
                        <a:avLst/>
                        <a:gdLst/>
                        <a:ahLst/>
                        <a:cxnLst>
                          <a:cxn ang="0">
                            <a:pos x="24" y="54"/>
                          </a:cxn>
                          <a:cxn ang="0">
                            <a:pos x="0" y="40"/>
                          </a:cxn>
                          <a:cxn ang="0">
                            <a:pos x="24" y="60"/>
                          </a:cxn>
                          <a:cxn ang="0">
                            <a:pos x="104" y="0"/>
                          </a:cxn>
                          <a:cxn ang="0">
                            <a:pos x="24" y="54"/>
                          </a:cxn>
                        </a:cxnLst>
                        <a:rect l="0" t="0" r="r" b="b"/>
                        <a:pathLst>
                          <a:path w="104" h="60">
                            <a:moveTo>
                              <a:pt x="24" y="54"/>
                            </a:moveTo>
                            <a:lnTo>
                              <a:pt x="0" y="40"/>
                            </a:lnTo>
                            <a:lnTo>
                              <a:pt x="24" y="60"/>
                            </a:lnTo>
                            <a:lnTo>
                              <a:pt x="104" y="0"/>
                            </a:lnTo>
                            <a:lnTo>
                              <a:pt x="24" y="5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7" name="Freeform 3005"/>
                      <p:cNvSpPr>
                        <a:spLocks/>
                      </p:cNvSpPr>
                      <p:nvPr/>
                    </p:nvSpPr>
                    <p:spPr bwMode="auto">
                      <a:xfrm>
                        <a:off x="4100" y="1909"/>
                        <a:ext cx="88" cy="148"/>
                      </a:xfrm>
                      <a:custGeom>
                        <a:avLst/>
                        <a:gdLst/>
                        <a:ahLst/>
                        <a:cxnLst>
                          <a:cxn ang="0">
                            <a:pos x="0" y="148"/>
                          </a:cxn>
                          <a:cxn ang="0">
                            <a:pos x="52" y="42"/>
                          </a:cxn>
                          <a:cxn ang="0">
                            <a:pos x="88" y="0"/>
                          </a:cxn>
                          <a:cxn ang="0">
                            <a:pos x="50" y="40"/>
                          </a:cxn>
                          <a:cxn ang="0">
                            <a:pos x="0" y="148"/>
                          </a:cxn>
                        </a:cxnLst>
                        <a:rect l="0" t="0" r="r" b="b"/>
                        <a:pathLst>
                          <a:path w="88" h="148">
                            <a:moveTo>
                              <a:pt x="0" y="148"/>
                            </a:moveTo>
                            <a:lnTo>
                              <a:pt x="52" y="42"/>
                            </a:lnTo>
                            <a:lnTo>
                              <a:pt x="88" y="0"/>
                            </a:lnTo>
                            <a:lnTo>
                              <a:pt x="50" y="40"/>
                            </a:lnTo>
                            <a:lnTo>
                              <a:pt x="0" y="14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8" name="Freeform 3006"/>
                      <p:cNvSpPr>
                        <a:spLocks/>
                      </p:cNvSpPr>
                      <p:nvPr/>
                    </p:nvSpPr>
                    <p:spPr bwMode="auto">
                      <a:xfrm>
                        <a:off x="3914" y="2083"/>
                        <a:ext cx="78" cy="48"/>
                      </a:xfrm>
                      <a:custGeom>
                        <a:avLst/>
                        <a:gdLst/>
                        <a:ahLst/>
                        <a:cxnLst>
                          <a:cxn ang="0">
                            <a:pos x="0" y="44"/>
                          </a:cxn>
                          <a:cxn ang="0">
                            <a:pos x="0" y="48"/>
                          </a:cxn>
                          <a:cxn ang="0">
                            <a:pos x="54" y="4"/>
                          </a:cxn>
                          <a:cxn ang="0">
                            <a:pos x="78" y="20"/>
                          </a:cxn>
                          <a:cxn ang="0">
                            <a:pos x="54" y="0"/>
                          </a:cxn>
                          <a:cxn ang="0">
                            <a:pos x="0" y="44"/>
                          </a:cxn>
                        </a:cxnLst>
                        <a:rect l="0" t="0" r="r" b="b"/>
                        <a:pathLst>
                          <a:path w="78" h="48">
                            <a:moveTo>
                              <a:pt x="0" y="44"/>
                            </a:moveTo>
                            <a:lnTo>
                              <a:pt x="0" y="48"/>
                            </a:lnTo>
                            <a:lnTo>
                              <a:pt x="54" y="4"/>
                            </a:lnTo>
                            <a:lnTo>
                              <a:pt x="78" y="20"/>
                            </a:lnTo>
                            <a:lnTo>
                              <a:pt x="54" y="0"/>
                            </a:lnTo>
                            <a:lnTo>
                              <a:pt x="0" y="4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19" name="Freeform 3007"/>
                      <p:cNvSpPr>
                        <a:spLocks/>
                      </p:cNvSpPr>
                      <p:nvPr/>
                    </p:nvSpPr>
                    <p:spPr bwMode="auto">
                      <a:xfrm>
                        <a:off x="3992" y="1951"/>
                        <a:ext cx="160" cy="152"/>
                      </a:xfrm>
                      <a:custGeom>
                        <a:avLst/>
                        <a:gdLst/>
                        <a:ahLst/>
                        <a:cxnLst>
                          <a:cxn ang="0">
                            <a:pos x="80" y="92"/>
                          </a:cxn>
                          <a:cxn ang="0">
                            <a:pos x="0" y="152"/>
                          </a:cxn>
                          <a:cxn ang="0">
                            <a:pos x="80" y="96"/>
                          </a:cxn>
                          <a:cxn ang="0">
                            <a:pos x="110" y="110"/>
                          </a:cxn>
                          <a:cxn ang="0">
                            <a:pos x="160" y="0"/>
                          </a:cxn>
                          <a:cxn ang="0">
                            <a:pos x="108" y="106"/>
                          </a:cxn>
                          <a:cxn ang="0">
                            <a:pos x="80" y="92"/>
                          </a:cxn>
                        </a:cxnLst>
                        <a:rect l="0" t="0" r="r" b="b"/>
                        <a:pathLst>
                          <a:path w="160" h="152">
                            <a:moveTo>
                              <a:pt x="80" y="92"/>
                            </a:moveTo>
                            <a:lnTo>
                              <a:pt x="0" y="152"/>
                            </a:lnTo>
                            <a:lnTo>
                              <a:pt x="80" y="96"/>
                            </a:lnTo>
                            <a:lnTo>
                              <a:pt x="110" y="110"/>
                            </a:lnTo>
                            <a:lnTo>
                              <a:pt x="160" y="0"/>
                            </a:lnTo>
                            <a:lnTo>
                              <a:pt x="108" y="106"/>
                            </a:lnTo>
                            <a:lnTo>
                              <a:pt x="80" y="9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0" name="Freeform 3008"/>
                      <p:cNvSpPr>
                        <a:spLocks/>
                      </p:cNvSpPr>
                      <p:nvPr/>
                    </p:nvSpPr>
                    <p:spPr bwMode="auto">
                      <a:xfrm>
                        <a:off x="4184" y="1895"/>
                        <a:ext cx="4" cy="14"/>
                      </a:xfrm>
                      <a:custGeom>
                        <a:avLst/>
                        <a:gdLst/>
                        <a:ahLst/>
                        <a:cxnLst>
                          <a:cxn ang="0">
                            <a:pos x="0" y="2"/>
                          </a:cxn>
                          <a:cxn ang="0">
                            <a:pos x="4" y="14"/>
                          </a:cxn>
                          <a:cxn ang="0">
                            <a:pos x="0" y="0"/>
                          </a:cxn>
                          <a:cxn ang="0">
                            <a:pos x="0" y="2"/>
                          </a:cxn>
                          <a:cxn ang="0">
                            <a:pos x="0" y="2"/>
                          </a:cxn>
                        </a:cxnLst>
                        <a:rect l="0" t="0" r="r" b="b"/>
                        <a:pathLst>
                          <a:path w="4" h="14">
                            <a:moveTo>
                              <a:pt x="0" y="2"/>
                            </a:moveTo>
                            <a:lnTo>
                              <a:pt x="4" y="14"/>
                            </a:lnTo>
                            <a:lnTo>
                              <a:pt x="0" y="0"/>
                            </a:lnTo>
                            <a:lnTo>
                              <a:pt x="0" y="2"/>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1" name="Freeform 3010"/>
                      <p:cNvSpPr>
                        <a:spLocks/>
                      </p:cNvSpPr>
                      <p:nvPr/>
                    </p:nvSpPr>
                    <p:spPr bwMode="auto">
                      <a:xfrm>
                        <a:off x="3900" y="1599"/>
                        <a:ext cx="288" cy="524"/>
                      </a:xfrm>
                      <a:custGeom>
                        <a:avLst/>
                        <a:gdLst/>
                        <a:ahLst/>
                        <a:cxnLst>
                          <a:cxn ang="0">
                            <a:pos x="92" y="498"/>
                          </a:cxn>
                          <a:cxn ang="0">
                            <a:pos x="172" y="444"/>
                          </a:cxn>
                          <a:cxn ang="0">
                            <a:pos x="200" y="458"/>
                          </a:cxn>
                          <a:cxn ang="0">
                            <a:pos x="250" y="350"/>
                          </a:cxn>
                          <a:cxn ang="0">
                            <a:pos x="288" y="310"/>
                          </a:cxn>
                          <a:cxn ang="0">
                            <a:pos x="284" y="298"/>
                          </a:cxn>
                          <a:cxn ang="0">
                            <a:pos x="284" y="298"/>
                          </a:cxn>
                          <a:cxn ang="0">
                            <a:pos x="284" y="296"/>
                          </a:cxn>
                          <a:cxn ang="0">
                            <a:pos x="216" y="0"/>
                          </a:cxn>
                          <a:cxn ang="0">
                            <a:pos x="26" y="6"/>
                          </a:cxn>
                          <a:cxn ang="0">
                            <a:pos x="0" y="28"/>
                          </a:cxn>
                          <a:cxn ang="0">
                            <a:pos x="38" y="392"/>
                          </a:cxn>
                          <a:cxn ang="0">
                            <a:pos x="24" y="464"/>
                          </a:cxn>
                          <a:cxn ang="0">
                            <a:pos x="20" y="484"/>
                          </a:cxn>
                          <a:cxn ang="0">
                            <a:pos x="14" y="524"/>
                          </a:cxn>
                          <a:cxn ang="0">
                            <a:pos x="68" y="484"/>
                          </a:cxn>
                          <a:cxn ang="0">
                            <a:pos x="92" y="498"/>
                          </a:cxn>
                        </a:cxnLst>
                        <a:rect l="0" t="0" r="r" b="b"/>
                        <a:pathLst>
                          <a:path w="288" h="524">
                            <a:moveTo>
                              <a:pt x="92" y="498"/>
                            </a:moveTo>
                            <a:lnTo>
                              <a:pt x="172" y="444"/>
                            </a:lnTo>
                            <a:lnTo>
                              <a:pt x="200" y="458"/>
                            </a:lnTo>
                            <a:lnTo>
                              <a:pt x="250" y="350"/>
                            </a:lnTo>
                            <a:lnTo>
                              <a:pt x="288" y="310"/>
                            </a:lnTo>
                            <a:lnTo>
                              <a:pt x="284" y="298"/>
                            </a:lnTo>
                            <a:lnTo>
                              <a:pt x="284" y="298"/>
                            </a:lnTo>
                            <a:lnTo>
                              <a:pt x="284" y="296"/>
                            </a:lnTo>
                            <a:lnTo>
                              <a:pt x="216" y="0"/>
                            </a:lnTo>
                            <a:lnTo>
                              <a:pt x="26" y="6"/>
                            </a:lnTo>
                            <a:lnTo>
                              <a:pt x="0" y="28"/>
                            </a:lnTo>
                            <a:lnTo>
                              <a:pt x="38" y="392"/>
                            </a:lnTo>
                            <a:lnTo>
                              <a:pt x="24" y="464"/>
                            </a:lnTo>
                            <a:lnTo>
                              <a:pt x="20" y="484"/>
                            </a:lnTo>
                            <a:lnTo>
                              <a:pt x="14" y="524"/>
                            </a:lnTo>
                            <a:lnTo>
                              <a:pt x="68" y="484"/>
                            </a:lnTo>
                            <a:lnTo>
                              <a:pt x="92" y="49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2" name="Freeform 3011"/>
                      <p:cNvSpPr>
                        <a:spLocks/>
                      </p:cNvSpPr>
                      <p:nvPr/>
                    </p:nvSpPr>
                    <p:spPr bwMode="auto">
                      <a:xfrm>
                        <a:off x="3970" y="2457"/>
                        <a:ext cx="32" cy="350"/>
                      </a:xfrm>
                      <a:custGeom>
                        <a:avLst/>
                        <a:gdLst/>
                        <a:ahLst/>
                        <a:cxnLst>
                          <a:cxn ang="0">
                            <a:pos x="0" y="0"/>
                          </a:cxn>
                          <a:cxn ang="0">
                            <a:pos x="32" y="350"/>
                          </a:cxn>
                          <a:cxn ang="0">
                            <a:pos x="8" y="68"/>
                          </a:cxn>
                          <a:cxn ang="0">
                            <a:pos x="2" y="0"/>
                          </a:cxn>
                          <a:cxn ang="0">
                            <a:pos x="0" y="0"/>
                          </a:cxn>
                        </a:cxnLst>
                        <a:rect l="0" t="0" r="r" b="b"/>
                        <a:pathLst>
                          <a:path w="32" h="350">
                            <a:moveTo>
                              <a:pt x="0" y="0"/>
                            </a:moveTo>
                            <a:lnTo>
                              <a:pt x="32" y="350"/>
                            </a:lnTo>
                            <a:lnTo>
                              <a:pt x="8" y="68"/>
                            </a:lnTo>
                            <a:lnTo>
                              <a:pt x="2" y="0"/>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3" name="Freeform 3012"/>
                      <p:cNvSpPr>
                        <a:spLocks/>
                      </p:cNvSpPr>
                      <p:nvPr/>
                    </p:nvSpPr>
                    <p:spPr bwMode="auto">
                      <a:xfrm>
                        <a:off x="3692" y="2455"/>
                        <a:ext cx="328" cy="586"/>
                      </a:xfrm>
                      <a:custGeom>
                        <a:avLst/>
                        <a:gdLst/>
                        <a:ahLst/>
                        <a:cxnLst>
                          <a:cxn ang="0">
                            <a:pos x="278" y="0"/>
                          </a:cxn>
                          <a:cxn ang="0">
                            <a:pos x="74" y="22"/>
                          </a:cxn>
                          <a:cxn ang="0">
                            <a:pos x="0" y="240"/>
                          </a:cxn>
                          <a:cxn ang="0">
                            <a:pos x="38" y="372"/>
                          </a:cxn>
                          <a:cxn ang="0">
                            <a:pos x="6" y="522"/>
                          </a:cxn>
                          <a:cxn ang="0">
                            <a:pos x="178" y="508"/>
                          </a:cxn>
                          <a:cxn ang="0">
                            <a:pos x="216" y="586"/>
                          </a:cxn>
                          <a:cxn ang="0">
                            <a:pos x="298" y="560"/>
                          </a:cxn>
                          <a:cxn ang="0">
                            <a:pos x="328" y="560"/>
                          </a:cxn>
                          <a:cxn ang="0">
                            <a:pos x="310" y="352"/>
                          </a:cxn>
                          <a:cxn ang="0">
                            <a:pos x="278" y="2"/>
                          </a:cxn>
                          <a:cxn ang="0">
                            <a:pos x="280" y="2"/>
                          </a:cxn>
                          <a:cxn ang="0">
                            <a:pos x="286" y="70"/>
                          </a:cxn>
                          <a:cxn ang="0">
                            <a:pos x="280" y="0"/>
                          </a:cxn>
                          <a:cxn ang="0">
                            <a:pos x="278" y="0"/>
                          </a:cxn>
                        </a:cxnLst>
                        <a:rect l="0" t="0" r="r" b="b"/>
                        <a:pathLst>
                          <a:path w="328" h="586">
                            <a:moveTo>
                              <a:pt x="278" y="0"/>
                            </a:moveTo>
                            <a:lnTo>
                              <a:pt x="74" y="22"/>
                            </a:lnTo>
                            <a:lnTo>
                              <a:pt x="0" y="240"/>
                            </a:lnTo>
                            <a:lnTo>
                              <a:pt x="38" y="372"/>
                            </a:lnTo>
                            <a:lnTo>
                              <a:pt x="6" y="522"/>
                            </a:lnTo>
                            <a:lnTo>
                              <a:pt x="178" y="508"/>
                            </a:lnTo>
                            <a:lnTo>
                              <a:pt x="216" y="586"/>
                            </a:lnTo>
                            <a:lnTo>
                              <a:pt x="298" y="560"/>
                            </a:lnTo>
                            <a:lnTo>
                              <a:pt x="328" y="560"/>
                            </a:lnTo>
                            <a:lnTo>
                              <a:pt x="310" y="352"/>
                            </a:lnTo>
                            <a:lnTo>
                              <a:pt x="278" y="2"/>
                            </a:lnTo>
                            <a:lnTo>
                              <a:pt x="280" y="2"/>
                            </a:lnTo>
                            <a:lnTo>
                              <a:pt x="286" y="70"/>
                            </a:lnTo>
                            <a:lnTo>
                              <a:pt x="280" y="0"/>
                            </a:lnTo>
                            <a:lnTo>
                              <a:pt x="278" y="0"/>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224" name="Freeform 3013"/>
                      <p:cNvSpPr>
                        <a:spLocks/>
                      </p:cNvSpPr>
                      <p:nvPr/>
                    </p:nvSpPr>
                    <p:spPr bwMode="auto">
                      <a:xfrm>
                        <a:off x="4002" y="2807"/>
                        <a:ext cx="20" cy="208"/>
                      </a:xfrm>
                      <a:custGeom>
                        <a:avLst/>
                        <a:gdLst/>
                        <a:ahLst/>
                        <a:cxnLst>
                          <a:cxn ang="0">
                            <a:pos x="20" y="208"/>
                          </a:cxn>
                          <a:cxn ang="0">
                            <a:pos x="0" y="0"/>
                          </a:cxn>
                          <a:cxn ang="0">
                            <a:pos x="18" y="208"/>
                          </a:cxn>
                          <a:cxn ang="0">
                            <a:pos x="20" y="208"/>
                          </a:cxn>
                        </a:cxnLst>
                        <a:rect l="0" t="0" r="r" b="b"/>
                        <a:pathLst>
                          <a:path w="20" h="208">
                            <a:moveTo>
                              <a:pt x="20" y="208"/>
                            </a:moveTo>
                            <a:lnTo>
                              <a:pt x="0" y="0"/>
                            </a:lnTo>
                            <a:lnTo>
                              <a:pt x="18" y="208"/>
                            </a:lnTo>
                            <a:lnTo>
                              <a:pt x="20" y="20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5" name="Freeform 3014"/>
                      <p:cNvSpPr>
                        <a:spLocks/>
                      </p:cNvSpPr>
                      <p:nvPr/>
                    </p:nvSpPr>
                    <p:spPr bwMode="auto">
                      <a:xfrm>
                        <a:off x="3972" y="2419"/>
                        <a:ext cx="368" cy="596"/>
                      </a:xfrm>
                      <a:custGeom>
                        <a:avLst/>
                        <a:gdLst/>
                        <a:ahLst/>
                        <a:cxnLst>
                          <a:cxn ang="0">
                            <a:pos x="368" y="466"/>
                          </a:cxn>
                          <a:cxn ang="0">
                            <a:pos x="350" y="330"/>
                          </a:cxn>
                          <a:cxn ang="0">
                            <a:pos x="226" y="0"/>
                          </a:cxn>
                          <a:cxn ang="0">
                            <a:pos x="0" y="36"/>
                          </a:cxn>
                          <a:cxn ang="0">
                            <a:pos x="6" y="106"/>
                          </a:cxn>
                          <a:cxn ang="0">
                            <a:pos x="52" y="596"/>
                          </a:cxn>
                          <a:cxn ang="0">
                            <a:pos x="96" y="596"/>
                          </a:cxn>
                          <a:cxn ang="0">
                            <a:pos x="134" y="580"/>
                          </a:cxn>
                          <a:cxn ang="0">
                            <a:pos x="90" y="490"/>
                          </a:cxn>
                          <a:cxn ang="0">
                            <a:pos x="368" y="466"/>
                          </a:cxn>
                        </a:cxnLst>
                        <a:rect l="0" t="0" r="r" b="b"/>
                        <a:pathLst>
                          <a:path w="368" h="596">
                            <a:moveTo>
                              <a:pt x="368" y="466"/>
                            </a:moveTo>
                            <a:lnTo>
                              <a:pt x="350" y="330"/>
                            </a:lnTo>
                            <a:lnTo>
                              <a:pt x="226" y="0"/>
                            </a:lnTo>
                            <a:lnTo>
                              <a:pt x="0" y="36"/>
                            </a:lnTo>
                            <a:lnTo>
                              <a:pt x="6" y="106"/>
                            </a:lnTo>
                            <a:lnTo>
                              <a:pt x="52" y="596"/>
                            </a:lnTo>
                            <a:lnTo>
                              <a:pt x="96" y="596"/>
                            </a:lnTo>
                            <a:lnTo>
                              <a:pt x="134" y="580"/>
                            </a:lnTo>
                            <a:lnTo>
                              <a:pt x="90" y="490"/>
                            </a:lnTo>
                            <a:lnTo>
                              <a:pt x="368" y="466"/>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226" name="Freeform 3015"/>
                      <p:cNvSpPr>
                        <a:spLocks/>
                      </p:cNvSpPr>
                      <p:nvPr/>
                    </p:nvSpPr>
                    <p:spPr bwMode="auto">
                      <a:xfrm>
                        <a:off x="4436" y="2409"/>
                        <a:ext cx="54" cy="38"/>
                      </a:xfrm>
                      <a:custGeom>
                        <a:avLst/>
                        <a:gdLst/>
                        <a:ahLst/>
                        <a:cxnLst>
                          <a:cxn ang="0">
                            <a:pos x="0" y="6"/>
                          </a:cxn>
                          <a:cxn ang="0">
                            <a:pos x="52" y="4"/>
                          </a:cxn>
                          <a:cxn ang="0">
                            <a:pos x="52" y="38"/>
                          </a:cxn>
                          <a:cxn ang="0">
                            <a:pos x="54" y="0"/>
                          </a:cxn>
                          <a:cxn ang="0">
                            <a:pos x="0" y="6"/>
                          </a:cxn>
                        </a:cxnLst>
                        <a:rect l="0" t="0" r="r" b="b"/>
                        <a:pathLst>
                          <a:path w="54" h="38">
                            <a:moveTo>
                              <a:pt x="0" y="6"/>
                            </a:moveTo>
                            <a:lnTo>
                              <a:pt x="52" y="4"/>
                            </a:lnTo>
                            <a:lnTo>
                              <a:pt x="52" y="38"/>
                            </a:lnTo>
                            <a:lnTo>
                              <a:pt x="54" y="0"/>
                            </a:lnTo>
                            <a:lnTo>
                              <a:pt x="0"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7" name="Freeform 3016"/>
                      <p:cNvSpPr>
                        <a:spLocks/>
                      </p:cNvSpPr>
                      <p:nvPr/>
                    </p:nvSpPr>
                    <p:spPr bwMode="auto">
                      <a:xfrm>
                        <a:off x="4436" y="2373"/>
                        <a:ext cx="54" cy="42"/>
                      </a:xfrm>
                      <a:custGeom>
                        <a:avLst/>
                        <a:gdLst/>
                        <a:ahLst/>
                        <a:cxnLst>
                          <a:cxn ang="0">
                            <a:pos x="6" y="40"/>
                          </a:cxn>
                          <a:cxn ang="0">
                            <a:pos x="22" y="0"/>
                          </a:cxn>
                          <a:cxn ang="0">
                            <a:pos x="0" y="42"/>
                          </a:cxn>
                          <a:cxn ang="0">
                            <a:pos x="54" y="36"/>
                          </a:cxn>
                          <a:cxn ang="0">
                            <a:pos x="6" y="40"/>
                          </a:cxn>
                        </a:cxnLst>
                        <a:rect l="0" t="0" r="r" b="b"/>
                        <a:pathLst>
                          <a:path w="54" h="42">
                            <a:moveTo>
                              <a:pt x="6" y="40"/>
                            </a:moveTo>
                            <a:lnTo>
                              <a:pt x="22" y="0"/>
                            </a:lnTo>
                            <a:lnTo>
                              <a:pt x="0" y="42"/>
                            </a:lnTo>
                            <a:lnTo>
                              <a:pt x="54" y="36"/>
                            </a:lnTo>
                            <a:lnTo>
                              <a:pt x="6" y="4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8" name="Freeform 3017"/>
                      <p:cNvSpPr>
                        <a:spLocks/>
                      </p:cNvSpPr>
                      <p:nvPr/>
                    </p:nvSpPr>
                    <p:spPr bwMode="auto">
                      <a:xfrm>
                        <a:off x="4488" y="2409"/>
                        <a:ext cx="264" cy="260"/>
                      </a:xfrm>
                      <a:custGeom>
                        <a:avLst/>
                        <a:gdLst/>
                        <a:ahLst/>
                        <a:cxnLst>
                          <a:cxn ang="0">
                            <a:pos x="2" y="0"/>
                          </a:cxn>
                          <a:cxn ang="0">
                            <a:pos x="0" y="38"/>
                          </a:cxn>
                          <a:cxn ang="0">
                            <a:pos x="264" y="260"/>
                          </a:cxn>
                          <a:cxn ang="0">
                            <a:pos x="2" y="36"/>
                          </a:cxn>
                          <a:cxn ang="0">
                            <a:pos x="2" y="0"/>
                          </a:cxn>
                        </a:cxnLst>
                        <a:rect l="0" t="0" r="r" b="b"/>
                        <a:pathLst>
                          <a:path w="264" h="260">
                            <a:moveTo>
                              <a:pt x="2" y="0"/>
                            </a:moveTo>
                            <a:lnTo>
                              <a:pt x="0" y="38"/>
                            </a:lnTo>
                            <a:lnTo>
                              <a:pt x="264" y="260"/>
                            </a:lnTo>
                            <a:lnTo>
                              <a:pt x="2" y="36"/>
                            </a:lnTo>
                            <a:lnTo>
                              <a:pt x="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29" name="Freeform 3018"/>
                      <p:cNvSpPr>
                        <a:spLocks/>
                      </p:cNvSpPr>
                      <p:nvPr/>
                    </p:nvSpPr>
                    <p:spPr bwMode="auto">
                      <a:xfrm>
                        <a:off x="4436" y="2359"/>
                        <a:ext cx="28" cy="56"/>
                      </a:xfrm>
                      <a:custGeom>
                        <a:avLst/>
                        <a:gdLst/>
                        <a:ahLst/>
                        <a:cxnLst>
                          <a:cxn ang="0">
                            <a:pos x="28" y="0"/>
                          </a:cxn>
                          <a:cxn ang="0">
                            <a:pos x="22" y="2"/>
                          </a:cxn>
                          <a:cxn ang="0">
                            <a:pos x="0" y="56"/>
                          </a:cxn>
                          <a:cxn ang="0">
                            <a:pos x="22" y="14"/>
                          </a:cxn>
                          <a:cxn ang="0">
                            <a:pos x="28" y="0"/>
                          </a:cxn>
                        </a:cxnLst>
                        <a:rect l="0" t="0" r="r" b="b"/>
                        <a:pathLst>
                          <a:path w="28" h="56">
                            <a:moveTo>
                              <a:pt x="28" y="0"/>
                            </a:moveTo>
                            <a:lnTo>
                              <a:pt x="22" y="2"/>
                            </a:lnTo>
                            <a:lnTo>
                              <a:pt x="0" y="56"/>
                            </a:lnTo>
                            <a:lnTo>
                              <a:pt x="22" y="14"/>
                            </a:lnTo>
                            <a:lnTo>
                              <a:pt x="28"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0" name="Freeform 3019"/>
                      <p:cNvSpPr>
                        <a:spLocks/>
                      </p:cNvSpPr>
                      <p:nvPr/>
                    </p:nvSpPr>
                    <p:spPr bwMode="auto">
                      <a:xfrm>
                        <a:off x="4442" y="2291"/>
                        <a:ext cx="438" cy="378"/>
                      </a:xfrm>
                      <a:custGeom>
                        <a:avLst/>
                        <a:gdLst/>
                        <a:ahLst/>
                        <a:cxnLst>
                          <a:cxn ang="0">
                            <a:pos x="0" y="122"/>
                          </a:cxn>
                          <a:cxn ang="0">
                            <a:pos x="48" y="118"/>
                          </a:cxn>
                          <a:cxn ang="0">
                            <a:pos x="48" y="154"/>
                          </a:cxn>
                          <a:cxn ang="0">
                            <a:pos x="310" y="378"/>
                          </a:cxn>
                          <a:cxn ang="0">
                            <a:pos x="422" y="176"/>
                          </a:cxn>
                          <a:cxn ang="0">
                            <a:pos x="438" y="104"/>
                          </a:cxn>
                          <a:cxn ang="0">
                            <a:pos x="306" y="16"/>
                          </a:cxn>
                          <a:cxn ang="0">
                            <a:pos x="224" y="32"/>
                          </a:cxn>
                          <a:cxn ang="0">
                            <a:pos x="194" y="0"/>
                          </a:cxn>
                          <a:cxn ang="0">
                            <a:pos x="24" y="66"/>
                          </a:cxn>
                          <a:cxn ang="0">
                            <a:pos x="16" y="82"/>
                          </a:cxn>
                          <a:cxn ang="0">
                            <a:pos x="0" y="122"/>
                          </a:cxn>
                        </a:cxnLst>
                        <a:rect l="0" t="0" r="r" b="b"/>
                        <a:pathLst>
                          <a:path w="438" h="378">
                            <a:moveTo>
                              <a:pt x="0" y="122"/>
                            </a:moveTo>
                            <a:lnTo>
                              <a:pt x="48" y="118"/>
                            </a:lnTo>
                            <a:lnTo>
                              <a:pt x="48" y="154"/>
                            </a:lnTo>
                            <a:lnTo>
                              <a:pt x="310" y="378"/>
                            </a:lnTo>
                            <a:lnTo>
                              <a:pt x="422" y="176"/>
                            </a:lnTo>
                            <a:lnTo>
                              <a:pt x="438" y="104"/>
                            </a:lnTo>
                            <a:lnTo>
                              <a:pt x="306" y="16"/>
                            </a:lnTo>
                            <a:lnTo>
                              <a:pt x="224" y="32"/>
                            </a:lnTo>
                            <a:lnTo>
                              <a:pt x="194" y="0"/>
                            </a:lnTo>
                            <a:lnTo>
                              <a:pt x="24" y="66"/>
                            </a:lnTo>
                            <a:lnTo>
                              <a:pt x="16" y="82"/>
                            </a:lnTo>
                            <a:lnTo>
                              <a:pt x="0" y="122"/>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231" name="Freeform 3020"/>
                      <p:cNvSpPr>
                        <a:spLocks/>
                      </p:cNvSpPr>
                      <p:nvPr/>
                    </p:nvSpPr>
                    <p:spPr bwMode="auto">
                      <a:xfrm>
                        <a:off x="4346" y="2849"/>
                        <a:ext cx="320" cy="84"/>
                      </a:xfrm>
                      <a:custGeom>
                        <a:avLst/>
                        <a:gdLst/>
                        <a:ahLst/>
                        <a:cxnLst>
                          <a:cxn ang="0">
                            <a:pos x="278" y="42"/>
                          </a:cxn>
                          <a:cxn ang="0">
                            <a:pos x="320" y="56"/>
                          </a:cxn>
                          <a:cxn ang="0">
                            <a:pos x="314" y="0"/>
                          </a:cxn>
                          <a:cxn ang="0">
                            <a:pos x="314" y="48"/>
                          </a:cxn>
                          <a:cxn ang="0">
                            <a:pos x="280" y="36"/>
                          </a:cxn>
                          <a:cxn ang="0">
                            <a:pos x="18" y="78"/>
                          </a:cxn>
                          <a:cxn ang="0">
                            <a:pos x="0" y="54"/>
                          </a:cxn>
                          <a:cxn ang="0">
                            <a:pos x="18" y="84"/>
                          </a:cxn>
                          <a:cxn ang="0">
                            <a:pos x="278" y="42"/>
                          </a:cxn>
                        </a:cxnLst>
                        <a:rect l="0" t="0" r="r" b="b"/>
                        <a:pathLst>
                          <a:path w="320" h="84">
                            <a:moveTo>
                              <a:pt x="278" y="42"/>
                            </a:moveTo>
                            <a:lnTo>
                              <a:pt x="320" y="56"/>
                            </a:lnTo>
                            <a:lnTo>
                              <a:pt x="314" y="0"/>
                            </a:lnTo>
                            <a:lnTo>
                              <a:pt x="314" y="48"/>
                            </a:lnTo>
                            <a:lnTo>
                              <a:pt x="280" y="36"/>
                            </a:lnTo>
                            <a:lnTo>
                              <a:pt x="18" y="78"/>
                            </a:lnTo>
                            <a:lnTo>
                              <a:pt x="0" y="54"/>
                            </a:lnTo>
                            <a:lnTo>
                              <a:pt x="18" y="84"/>
                            </a:lnTo>
                            <a:lnTo>
                              <a:pt x="278" y="4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2" name="Freeform 3021"/>
                      <p:cNvSpPr>
                        <a:spLocks/>
                      </p:cNvSpPr>
                      <p:nvPr/>
                    </p:nvSpPr>
                    <p:spPr bwMode="auto">
                      <a:xfrm>
                        <a:off x="4660" y="2847"/>
                        <a:ext cx="70" cy="4"/>
                      </a:xfrm>
                      <a:custGeom>
                        <a:avLst/>
                        <a:gdLst/>
                        <a:ahLst/>
                        <a:cxnLst>
                          <a:cxn ang="0">
                            <a:pos x="0" y="2"/>
                          </a:cxn>
                          <a:cxn ang="0">
                            <a:pos x="70" y="4"/>
                          </a:cxn>
                          <a:cxn ang="0">
                            <a:pos x="70" y="0"/>
                          </a:cxn>
                          <a:cxn ang="0">
                            <a:pos x="0" y="2"/>
                          </a:cxn>
                        </a:cxnLst>
                        <a:rect l="0" t="0" r="r" b="b"/>
                        <a:pathLst>
                          <a:path w="70" h="4">
                            <a:moveTo>
                              <a:pt x="0" y="2"/>
                            </a:moveTo>
                            <a:lnTo>
                              <a:pt x="70" y="4"/>
                            </a:lnTo>
                            <a:lnTo>
                              <a:pt x="70"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3" name="Freeform 3022"/>
                      <p:cNvSpPr>
                        <a:spLocks/>
                      </p:cNvSpPr>
                      <p:nvPr/>
                    </p:nvSpPr>
                    <p:spPr bwMode="auto">
                      <a:xfrm>
                        <a:off x="4660" y="2849"/>
                        <a:ext cx="70" cy="56"/>
                      </a:xfrm>
                      <a:custGeom>
                        <a:avLst/>
                        <a:gdLst/>
                        <a:ahLst/>
                        <a:cxnLst>
                          <a:cxn ang="0">
                            <a:pos x="6" y="56"/>
                          </a:cxn>
                          <a:cxn ang="0">
                            <a:pos x="6" y="6"/>
                          </a:cxn>
                          <a:cxn ang="0">
                            <a:pos x="70" y="6"/>
                          </a:cxn>
                          <a:cxn ang="0">
                            <a:pos x="70" y="2"/>
                          </a:cxn>
                          <a:cxn ang="0">
                            <a:pos x="0" y="0"/>
                          </a:cxn>
                          <a:cxn ang="0">
                            <a:pos x="6" y="56"/>
                          </a:cxn>
                        </a:cxnLst>
                        <a:rect l="0" t="0" r="r" b="b"/>
                        <a:pathLst>
                          <a:path w="70" h="56">
                            <a:moveTo>
                              <a:pt x="6" y="56"/>
                            </a:moveTo>
                            <a:lnTo>
                              <a:pt x="6" y="6"/>
                            </a:lnTo>
                            <a:lnTo>
                              <a:pt x="70" y="6"/>
                            </a:lnTo>
                            <a:lnTo>
                              <a:pt x="70" y="2"/>
                            </a:lnTo>
                            <a:lnTo>
                              <a:pt x="0" y="0"/>
                            </a:lnTo>
                            <a:lnTo>
                              <a:pt x="6" y="5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4" name="Freeform 3023"/>
                      <p:cNvSpPr>
                        <a:spLocks/>
                      </p:cNvSpPr>
                      <p:nvPr/>
                    </p:nvSpPr>
                    <p:spPr bwMode="auto">
                      <a:xfrm>
                        <a:off x="4340" y="2891"/>
                        <a:ext cx="24" cy="42"/>
                      </a:xfrm>
                      <a:custGeom>
                        <a:avLst/>
                        <a:gdLst/>
                        <a:ahLst/>
                        <a:cxnLst>
                          <a:cxn ang="0">
                            <a:pos x="24" y="42"/>
                          </a:cxn>
                          <a:cxn ang="0">
                            <a:pos x="6" y="12"/>
                          </a:cxn>
                          <a:cxn ang="0">
                            <a:pos x="0" y="0"/>
                          </a:cxn>
                          <a:cxn ang="0">
                            <a:pos x="2" y="12"/>
                          </a:cxn>
                          <a:cxn ang="0">
                            <a:pos x="24" y="42"/>
                          </a:cxn>
                        </a:cxnLst>
                        <a:rect l="0" t="0" r="r" b="b"/>
                        <a:pathLst>
                          <a:path w="24" h="42">
                            <a:moveTo>
                              <a:pt x="24" y="42"/>
                            </a:moveTo>
                            <a:lnTo>
                              <a:pt x="6" y="12"/>
                            </a:lnTo>
                            <a:lnTo>
                              <a:pt x="0" y="0"/>
                            </a:lnTo>
                            <a:lnTo>
                              <a:pt x="2" y="12"/>
                            </a:lnTo>
                            <a:lnTo>
                              <a:pt x="24" y="4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5" name="Freeform 3024"/>
                      <p:cNvSpPr>
                        <a:spLocks/>
                      </p:cNvSpPr>
                      <p:nvPr/>
                    </p:nvSpPr>
                    <p:spPr bwMode="auto">
                      <a:xfrm>
                        <a:off x="4066" y="2911"/>
                        <a:ext cx="44" cy="86"/>
                      </a:xfrm>
                      <a:custGeom>
                        <a:avLst/>
                        <a:gdLst/>
                        <a:ahLst/>
                        <a:cxnLst>
                          <a:cxn ang="0">
                            <a:pos x="44" y="86"/>
                          </a:cxn>
                          <a:cxn ang="0">
                            <a:pos x="44" y="86"/>
                          </a:cxn>
                          <a:cxn ang="0">
                            <a:pos x="0" y="0"/>
                          </a:cxn>
                          <a:cxn ang="0">
                            <a:pos x="44" y="86"/>
                          </a:cxn>
                        </a:cxnLst>
                        <a:rect l="0" t="0" r="r" b="b"/>
                        <a:pathLst>
                          <a:path w="44" h="86">
                            <a:moveTo>
                              <a:pt x="44" y="86"/>
                            </a:moveTo>
                            <a:lnTo>
                              <a:pt x="44" y="86"/>
                            </a:lnTo>
                            <a:lnTo>
                              <a:pt x="0" y="0"/>
                            </a:lnTo>
                            <a:lnTo>
                              <a:pt x="44" y="8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6" name="Freeform 3025"/>
                      <p:cNvSpPr>
                        <a:spLocks/>
                      </p:cNvSpPr>
                      <p:nvPr/>
                    </p:nvSpPr>
                    <p:spPr bwMode="auto">
                      <a:xfrm>
                        <a:off x="4204" y="2357"/>
                        <a:ext cx="546" cy="570"/>
                      </a:xfrm>
                      <a:custGeom>
                        <a:avLst/>
                        <a:gdLst/>
                        <a:ahLst/>
                        <a:cxnLst>
                          <a:cxn ang="0">
                            <a:pos x="422" y="528"/>
                          </a:cxn>
                          <a:cxn ang="0">
                            <a:pos x="456" y="540"/>
                          </a:cxn>
                          <a:cxn ang="0">
                            <a:pos x="456" y="492"/>
                          </a:cxn>
                          <a:cxn ang="0">
                            <a:pos x="526" y="490"/>
                          </a:cxn>
                          <a:cxn ang="0">
                            <a:pos x="526" y="494"/>
                          </a:cxn>
                          <a:cxn ang="0">
                            <a:pos x="526" y="494"/>
                          </a:cxn>
                          <a:cxn ang="0">
                            <a:pos x="512" y="378"/>
                          </a:cxn>
                          <a:cxn ang="0">
                            <a:pos x="546" y="314"/>
                          </a:cxn>
                          <a:cxn ang="0">
                            <a:pos x="284" y="90"/>
                          </a:cxn>
                          <a:cxn ang="0">
                            <a:pos x="284" y="56"/>
                          </a:cxn>
                          <a:cxn ang="0">
                            <a:pos x="232" y="58"/>
                          </a:cxn>
                          <a:cxn ang="0">
                            <a:pos x="254" y="4"/>
                          </a:cxn>
                          <a:cxn ang="0">
                            <a:pos x="260" y="2"/>
                          </a:cxn>
                          <a:cxn ang="0">
                            <a:pos x="254" y="16"/>
                          </a:cxn>
                          <a:cxn ang="0">
                            <a:pos x="262" y="0"/>
                          </a:cxn>
                          <a:cxn ang="0">
                            <a:pos x="182" y="30"/>
                          </a:cxn>
                          <a:cxn ang="0">
                            <a:pos x="0" y="60"/>
                          </a:cxn>
                          <a:cxn ang="0">
                            <a:pos x="120" y="390"/>
                          </a:cxn>
                          <a:cxn ang="0">
                            <a:pos x="142" y="546"/>
                          </a:cxn>
                          <a:cxn ang="0">
                            <a:pos x="160" y="570"/>
                          </a:cxn>
                          <a:cxn ang="0">
                            <a:pos x="422" y="528"/>
                          </a:cxn>
                        </a:cxnLst>
                        <a:rect l="0" t="0" r="r" b="b"/>
                        <a:pathLst>
                          <a:path w="546" h="570">
                            <a:moveTo>
                              <a:pt x="422" y="528"/>
                            </a:moveTo>
                            <a:lnTo>
                              <a:pt x="456" y="540"/>
                            </a:lnTo>
                            <a:lnTo>
                              <a:pt x="456" y="492"/>
                            </a:lnTo>
                            <a:lnTo>
                              <a:pt x="526" y="490"/>
                            </a:lnTo>
                            <a:lnTo>
                              <a:pt x="526" y="494"/>
                            </a:lnTo>
                            <a:lnTo>
                              <a:pt x="526" y="494"/>
                            </a:lnTo>
                            <a:lnTo>
                              <a:pt x="512" y="378"/>
                            </a:lnTo>
                            <a:lnTo>
                              <a:pt x="546" y="314"/>
                            </a:lnTo>
                            <a:lnTo>
                              <a:pt x="284" y="90"/>
                            </a:lnTo>
                            <a:lnTo>
                              <a:pt x="284" y="56"/>
                            </a:lnTo>
                            <a:lnTo>
                              <a:pt x="232" y="58"/>
                            </a:lnTo>
                            <a:lnTo>
                              <a:pt x="254" y="4"/>
                            </a:lnTo>
                            <a:lnTo>
                              <a:pt x="260" y="2"/>
                            </a:lnTo>
                            <a:lnTo>
                              <a:pt x="254" y="16"/>
                            </a:lnTo>
                            <a:lnTo>
                              <a:pt x="262" y="0"/>
                            </a:lnTo>
                            <a:lnTo>
                              <a:pt x="182" y="30"/>
                            </a:lnTo>
                            <a:lnTo>
                              <a:pt x="0" y="60"/>
                            </a:lnTo>
                            <a:lnTo>
                              <a:pt x="120" y="390"/>
                            </a:lnTo>
                            <a:lnTo>
                              <a:pt x="142" y="546"/>
                            </a:lnTo>
                            <a:lnTo>
                              <a:pt x="160" y="570"/>
                            </a:lnTo>
                            <a:lnTo>
                              <a:pt x="422" y="528"/>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237" name="Freeform 3026"/>
                      <p:cNvSpPr>
                        <a:spLocks/>
                      </p:cNvSpPr>
                      <p:nvPr/>
                    </p:nvSpPr>
                    <p:spPr bwMode="auto">
                      <a:xfrm>
                        <a:off x="4066" y="2851"/>
                        <a:ext cx="926" cy="666"/>
                      </a:xfrm>
                      <a:custGeom>
                        <a:avLst/>
                        <a:gdLst/>
                        <a:ahLst/>
                        <a:cxnLst>
                          <a:cxn ang="0">
                            <a:pos x="896" y="342"/>
                          </a:cxn>
                          <a:cxn ang="0">
                            <a:pos x="808" y="232"/>
                          </a:cxn>
                          <a:cxn ang="0">
                            <a:pos x="808" y="182"/>
                          </a:cxn>
                          <a:cxn ang="0">
                            <a:pos x="668" y="20"/>
                          </a:cxn>
                          <a:cxn ang="0">
                            <a:pos x="664" y="0"/>
                          </a:cxn>
                          <a:cxn ang="0">
                            <a:pos x="664" y="0"/>
                          </a:cxn>
                          <a:cxn ang="0">
                            <a:pos x="664" y="4"/>
                          </a:cxn>
                          <a:cxn ang="0">
                            <a:pos x="600" y="4"/>
                          </a:cxn>
                          <a:cxn ang="0">
                            <a:pos x="600" y="54"/>
                          </a:cxn>
                          <a:cxn ang="0">
                            <a:pos x="558" y="40"/>
                          </a:cxn>
                          <a:cxn ang="0">
                            <a:pos x="298" y="82"/>
                          </a:cxn>
                          <a:cxn ang="0">
                            <a:pos x="276" y="52"/>
                          </a:cxn>
                          <a:cxn ang="0">
                            <a:pos x="274" y="40"/>
                          </a:cxn>
                          <a:cxn ang="0">
                            <a:pos x="0" y="60"/>
                          </a:cxn>
                          <a:cxn ang="0">
                            <a:pos x="44" y="146"/>
                          </a:cxn>
                          <a:cxn ang="0">
                            <a:pos x="132" y="108"/>
                          </a:cxn>
                          <a:cxn ang="0">
                            <a:pos x="242" y="154"/>
                          </a:cxn>
                          <a:cxn ang="0">
                            <a:pos x="242" y="192"/>
                          </a:cxn>
                          <a:cxn ang="0">
                            <a:pos x="298" y="192"/>
                          </a:cxn>
                          <a:cxn ang="0">
                            <a:pos x="380" y="128"/>
                          </a:cxn>
                          <a:cxn ang="0">
                            <a:pos x="558" y="206"/>
                          </a:cxn>
                          <a:cxn ang="0">
                            <a:pos x="558" y="368"/>
                          </a:cxn>
                          <a:cxn ang="0">
                            <a:pos x="598" y="382"/>
                          </a:cxn>
                          <a:cxn ang="0">
                            <a:pos x="638" y="478"/>
                          </a:cxn>
                          <a:cxn ang="0">
                            <a:pos x="776" y="584"/>
                          </a:cxn>
                          <a:cxn ang="0">
                            <a:pos x="776" y="626"/>
                          </a:cxn>
                          <a:cxn ang="0">
                            <a:pos x="830" y="666"/>
                          </a:cxn>
                          <a:cxn ang="0">
                            <a:pos x="886" y="610"/>
                          </a:cxn>
                          <a:cxn ang="0">
                            <a:pos x="916" y="610"/>
                          </a:cxn>
                          <a:cxn ang="0">
                            <a:pos x="926" y="518"/>
                          </a:cxn>
                          <a:cxn ang="0">
                            <a:pos x="896" y="342"/>
                          </a:cxn>
                        </a:cxnLst>
                        <a:rect l="0" t="0" r="r" b="b"/>
                        <a:pathLst>
                          <a:path w="926" h="666">
                            <a:moveTo>
                              <a:pt x="896" y="342"/>
                            </a:moveTo>
                            <a:lnTo>
                              <a:pt x="808" y="232"/>
                            </a:lnTo>
                            <a:lnTo>
                              <a:pt x="808" y="182"/>
                            </a:lnTo>
                            <a:lnTo>
                              <a:pt x="668" y="20"/>
                            </a:lnTo>
                            <a:lnTo>
                              <a:pt x="664" y="0"/>
                            </a:lnTo>
                            <a:lnTo>
                              <a:pt x="664" y="0"/>
                            </a:lnTo>
                            <a:lnTo>
                              <a:pt x="664" y="4"/>
                            </a:lnTo>
                            <a:lnTo>
                              <a:pt x="600" y="4"/>
                            </a:lnTo>
                            <a:lnTo>
                              <a:pt x="600" y="54"/>
                            </a:lnTo>
                            <a:lnTo>
                              <a:pt x="558" y="40"/>
                            </a:lnTo>
                            <a:lnTo>
                              <a:pt x="298" y="82"/>
                            </a:lnTo>
                            <a:lnTo>
                              <a:pt x="276" y="52"/>
                            </a:lnTo>
                            <a:lnTo>
                              <a:pt x="274" y="40"/>
                            </a:lnTo>
                            <a:lnTo>
                              <a:pt x="0" y="60"/>
                            </a:lnTo>
                            <a:lnTo>
                              <a:pt x="44" y="146"/>
                            </a:lnTo>
                            <a:lnTo>
                              <a:pt x="132" y="108"/>
                            </a:lnTo>
                            <a:lnTo>
                              <a:pt x="242" y="154"/>
                            </a:lnTo>
                            <a:lnTo>
                              <a:pt x="242" y="192"/>
                            </a:lnTo>
                            <a:lnTo>
                              <a:pt x="298" y="192"/>
                            </a:lnTo>
                            <a:lnTo>
                              <a:pt x="380" y="128"/>
                            </a:lnTo>
                            <a:lnTo>
                              <a:pt x="558" y="206"/>
                            </a:lnTo>
                            <a:lnTo>
                              <a:pt x="558" y="368"/>
                            </a:lnTo>
                            <a:lnTo>
                              <a:pt x="598" y="382"/>
                            </a:lnTo>
                            <a:lnTo>
                              <a:pt x="638" y="478"/>
                            </a:lnTo>
                            <a:lnTo>
                              <a:pt x="776" y="584"/>
                            </a:lnTo>
                            <a:lnTo>
                              <a:pt x="776" y="626"/>
                            </a:lnTo>
                            <a:lnTo>
                              <a:pt x="830" y="666"/>
                            </a:lnTo>
                            <a:lnTo>
                              <a:pt x="886" y="610"/>
                            </a:lnTo>
                            <a:lnTo>
                              <a:pt x="916" y="610"/>
                            </a:lnTo>
                            <a:lnTo>
                              <a:pt x="926" y="518"/>
                            </a:lnTo>
                            <a:lnTo>
                              <a:pt x="896" y="342"/>
                            </a:lnTo>
                            <a:close/>
                          </a:path>
                        </a:pathLst>
                      </a:custGeom>
                      <a:solidFill>
                        <a:schemeClr val="accent2">
                          <a:lumMod val="60000"/>
                          <a:lumOff val="40000"/>
                        </a:schemeClr>
                      </a:solidFill>
                      <a:ln w="0">
                        <a:solidFill>
                          <a:schemeClr val="bg1"/>
                        </a:solidFill>
                        <a:prstDash val="solid"/>
                        <a:round/>
                        <a:headEnd/>
                        <a:tailEnd/>
                      </a:ln>
                    </p:spPr>
                    <p:txBody>
                      <a:bodyPr/>
                      <a:lstStyle/>
                      <a:p>
                        <a:pPr>
                          <a:defRPr/>
                        </a:pPr>
                        <a:endParaRPr lang="da-DK" sz="800">
                          <a:solidFill>
                            <a:prstClr val="black"/>
                          </a:solidFill>
                        </a:endParaRPr>
                      </a:p>
                    </p:txBody>
                  </p:sp>
                  <p:sp>
                    <p:nvSpPr>
                      <p:cNvPr id="238" name="Freeform 3027"/>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39" name="Freeform 3028"/>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0" name="Freeform 3029"/>
                      <p:cNvSpPr>
                        <a:spLocks/>
                      </p:cNvSpPr>
                      <p:nvPr/>
                    </p:nvSpPr>
                    <p:spPr bwMode="auto">
                      <a:xfrm>
                        <a:off x="4448" y="1469"/>
                        <a:ext cx="76" cy="202"/>
                      </a:xfrm>
                      <a:custGeom>
                        <a:avLst/>
                        <a:gdLst/>
                        <a:ahLst/>
                        <a:cxnLst>
                          <a:cxn ang="0">
                            <a:pos x="2" y="0"/>
                          </a:cxn>
                          <a:cxn ang="0">
                            <a:pos x="0" y="6"/>
                          </a:cxn>
                          <a:cxn ang="0">
                            <a:pos x="6" y="24"/>
                          </a:cxn>
                          <a:cxn ang="0">
                            <a:pos x="74" y="202"/>
                          </a:cxn>
                          <a:cxn ang="0">
                            <a:pos x="76" y="200"/>
                          </a:cxn>
                          <a:cxn ang="0">
                            <a:pos x="2" y="0"/>
                          </a:cxn>
                        </a:cxnLst>
                        <a:rect l="0" t="0" r="r" b="b"/>
                        <a:pathLst>
                          <a:path w="76" h="202">
                            <a:moveTo>
                              <a:pt x="2" y="0"/>
                            </a:moveTo>
                            <a:lnTo>
                              <a:pt x="0" y="6"/>
                            </a:lnTo>
                            <a:lnTo>
                              <a:pt x="6" y="24"/>
                            </a:lnTo>
                            <a:lnTo>
                              <a:pt x="74" y="202"/>
                            </a:lnTo>
                            <a:lnTo>
                              <a:pt x="76" y="200"/>
                            </a:lnTo>
                            <a:lnTo>
                              <a:pt x="2"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1" name="Freeform 3030"/>
                      <p:cNvSpPr>
                        <a:spLocks/>
                      </p:cNvSpPr>
                      <p:nvPr/>
                    </p:nvSpPr>
                    <p:spPr bwMode="auto">
                      <a:xfrm>
                        <a:off x="4414" y="1681"/>
                        <a:ext cx="392" cy="354"/>
                      </a:xfrm>
                      <a:custGeom>
                        <a:avLst/>
                        <a:gdLst/>
                        <a:ahLst/>
                        <a:cxnLst>
                          <a:cxn ang="0">
                            <a:pos x="6" y="268"/>
                          </a:cxn>
                          <a:cxn ang="0">
                            <a:pos x="0" y="264"/>
                          </a:cxn>
                          <a:cxn ang="0">
                            <a:pos x="10" y="298"/>
                          </a:cxn>
                          <a:cxn ang="0">
                            <a:pos x="62" y="320"/>
                          </a:cxn>
                          <a:cxn ang="0">
                            <a:pos x="62" y="320"/>
                          </a:cxn>
                          <a:cxn ang="0">
                            <a:pos x="64" y="322"/>
                          </a:cxn>
                          <a:cxn ang="0">
                            <a:pos x="136" y="354"/>
                          </a:cxn>
                          <a:cxn ang="0">
                            <a:pos x="206" y="312"/>
                          </a:cxn>
                          <a:cxn ang="0">
                            <a:pos x="236" y="148"/>
                          </a:cxn>
                          <a:cxn ang="0">
                            <a:pos x="266" y="172"/>
                          </a:cxn>
                          <a:cxn ang="0">
                            <a:pos x="294" y="102"/>
                          </a:cxn>
                          <a:cxn ang="0">
                            <a:pos x="336" y="40"/>
                          </a:cxn>
                          <a:cxn ang="0">
                            <a:pos x="376" y="40"/>
                          </a:cxn>
                          <a:cxn ang="0">
                            <a:pos x="392" y="18"/>
                          </a:cxn>
                          <a:cxn ang="0">
                            <a:pos x="346" y="8"/>
                          </a:cxn>
                          <a:cxn ang="0">
                            <a:pos x="240" y="64"/>
                          </a:cxn>
                          <a:cxn ang="0">
                            <a:pos x="214" y="18"/>
                          </a:cxn>
                          <a:cxn ang="0">
                            <a:pos x="126" y="48"/>
                          </a:cxn>
                          <a:cxn ang="0">
                            <a:pos x="110" y="0"/>
                          </a:cxn>
                          <a:cxn ang="0">
                            <a:pos x="98" y="76"/>
                          </a:cxn>
                          <a:cxn ang="0">
                            <a:pos x="6" y="268"/>
                          </a:cxn>
                        </a:cxnLst>
                        <a:rect l="0" t="0" r="r" b="b"/>
                        <a:pathLst>
                          <a:path w="392" h="354">
                            <a:moveTo>
                              <a:pt x="6" y="268"/>
                            </a:moveTo>
                            <a:lnTo>
                              <a:pt x="0" y="264"/>
                            </a:lnTo>
                            <a:lnTo>
                              <a:pt x="10" y="298"/>
                            </a:lnTo>
                            <a:lnTo>
                              <a:pt x="62" y="320"/>
                            </a:lnTo>
                            <a:lnTo>
                              <a:pt x="62" y="320"/>
                            </a:lnTo>
                            <a:lnTo>
                              <a:pt x="64" y="322"/>
                            </a:lnTo>
                            <a:lnTo>
                              <a:pt x="136" y="354"/>
                            </a:lnTo>
                            <a:lnTo>
                              <a:pt x="206" y="312"/>
                            </a:lnTo>
                            <a:lnTo>
                              <a:pt x="236" y="148"/>
                            </a:lnTo>
                            <a:lnTo>
                              <a:pt x="266" y="172"/>
                            </a:lnTo>
                            <a:lnTo>
                              <a:pt x="294" y="102"/>
                            </a:lnTo>
                            <a:lnTo>
                              <a:pt x="336" y="40"/>
                            </a:lnTo>
                            <a:lnTo>
                              <a:pt x="376" y="40"/>
                            </a:lnTo>
                            <a:lnTo>
                              <a:pt x="392" y="18"/>
                            </a:lnTo>
                            <a:lnTo>
                              <a:pt x="346" y="8"/>
                            </a:lnTo>
                            <a:lnTo>
                              <a:pt x="240" y="64"/>
                            </a:lnTo>
                            <a:lnTo>
                              <a:pt x="214" y="18"/>
                            </a:lnTo>
                            <a:lnTo>
                              <a:pt x="126" y="48"/>
                            </a:lnTo>
                            <a:lnTo>
                              <a:pt x="110" y="0"/>
                            </a:lnTo>
                            <a:lnTo>
                              <a:pt x="98" y="76"/>
                            </a:lnTo>
                            <a:lnTo>
                              <a:pt x="6" y="26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2" name="Freeform 3031"/>
                      <p:cNvSpPr>
                        <a:spLocks/>
                      </p:cNvSpPr>
                      <p:nvPr/>
                    </p:nvSpPr>
                    <p:spPr bwMode="auto">
                      <a:xfrm>
                        <a:off x="4414" y="1943"/>
                        <a:ext cx="6" cy="6"/>
                      </a:xfrm>
                      <a:custGeom>
                        <a:avLst/>
                        <a:gdLst/>
                        <a:ahLst/>
                        <a:cxnLst>
                          <a:cxn ang="0">
                            <a:pos x="0" y="0"/>
                          </a:cxn>
                          <a:cxn ang="0">
                            <a:pos x="0" y="2"/>
                          </a:cxn>
                          <a:cxn ang="0">
                            <a:pos x="6" y="6"/>
                          </a:cxn>
                          <a:cxn ang="0">
                            <a:pos x="0" y="0"/>
                          </a:cxn>
                        </a:cxnLst>
                        <a:rect l="0" t="0" r="r" b="b"/>
                        <a:pathLst>
                          <a:path w="6" h="6">
                            <a:moveTo>
                              <a:pt x="0" y="0"/>
                            </a:moveTo>
                            <a:lnTo>
                              <a:pt x="0" y="2"/>
                            </a:lnTo>
                            <a:lnTo>
                              <a:pt x="6" y="6"/>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3" name="Freeform 3032"/>
                      <p:cNvSpPr>
                        <a:spLocks/>
                      </p:cNvSpPr>
                      <p:nvPr/>
                    </p:nvSpPr>
                    <p:spPr bwMode="auto">
                      <a:xfrm>
                        <a:off x="4512" y="1679"/>
                        <a:ext cx="12" cy="78"/>
                      </a:xfrm>
                      <a:custGeom>
                        <a:avLst/>
                        <a:gdLst/>
                        <a:ahLst/>
                        <a:cxnLst>
                          <a:cxn ang="0">
                            <a:pos x="0" y="78"/>
                          </a:cxn>
                          <a:cxn ang="0">
                            <a:pos x="12" y="2"/>
                          </a:cxn>
                          <a:cxn ang="0">
                            <a:pos x="10" y="0"/>
                          </a:cxn>
                          <a:cxn ang="0">
                            <a:pos x="0" y="78"/>
                          </a:cxn>
                        </a:cxnLst>
                        <a:rect l="0" t="0" r="r" b="b"/>
                        <a:pathLst>
                          <a:path w="12" h="78">
                            <a:moveTo>
                              <a:pt x="0" y="78"/>
                            </a:moveTo>
                            <a:lnTo>
                              <a:pt x="12" y="2"/>
                            </a:lnTo>
                            <a:lnTo>
                              <a:pt x="10" y="0"/>
                            </a:lnTo>
                            <a:lnTo>
                              <a:pt x="0" y="78"/>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4" name="Freeform 3033"/>
                      <p:cNvSpPr>
                        <a:spLocks/>
                      </p:cNvSpPr>
                      <p:nvPr/>
                    </p:nvSpPr>
                    <p:spPr bwMode="auto">
                      <a:xfrm>
                        <a:off x="4420" y="1757"/>
                        <a:ext cx="92" cy="192"/>
                      </a:xfrm>
                      <a:custGeom>
                        <a:avLst/>
                        <a:gdLst/>
                        <a:ahLst/>
                        <a:cxnLst>
                          <a:cxn ang="0">
                            <a:pos x="58" y="60"/>
                          </a:cxn>
                          <a:cxn ang="0">
                            <a:pos x="0" y="192"/>
                          </a:cxn>
                          <a:cxn ang="0">
                            <a:pos x="92" y="0"/>
                          </a:cxn>
                          <a:cxn ang="0">
                            <a:pos x="58" y="60"/>
                          </a:cxn>
                        </a:cxnLst>
                        <a:rect l="0" t="0" r="r" b="b"/>
                        <a:pathLst>
                          <a:path w="92" h="192">
                            <a:moveTo>
                              <a:pt x="58" y="60"/>
                            </a:moveTo>
                            <a:lnTo>
                              <a:pt x="0" y="192"/>
                            </a:lnTo>
                            <a:lnTo>
                              <a:pt x="92" y="0"/>
                            </a:lnTo>
                            <a:lnTo>
                              <a:pt x="58" y="6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5" name="Freeform 3034"/>
                      <p:cNvSpPr>
                        <a:spLocks/>
                      </p:cNvSpPr>
                      <p:nvPr/>
                    </p:nvSpPr>
                    <p:spPr bwMode="auto">
                      <a:xfrm>
                        <a:off x="4522" y="1671"/>
                        <a:ext cx="2" cy="6"/>
                      </a:xfrm>
                      <a:custGeom>
                        <a:avLst/>
                        <a:gdLst/>
                        <a:ahLst/>
                        <a:cxnLst>
                          <a:cxn ang="0">
                            <a:pos x="0" y="6"/>
                          </a:cxn>
                          <a:cxn ang="0">
                            <a:pos x="2" y="2"/>
                          </a:cxn>
                          <a:cxn ang="0">
                            <a:pos x="0" y="0"/>
                          </a:cxn>
                          <a:cxn ang="0">
                            <a:pos x="0" y="6"/>
                          </a:cxn>
                        </a:cxnLst>
                        <a:rect l="0" t="0" r="r" b="b"/>
                        <a:pathLst>
                          <a:path w="2" h="6">
                            <a:moveTo>
                              <a:pt x="0" y="6"/>
                            </a:moveTo>
                            <a:lnTo>
                              <a:pt x="2" y="2"/>
                            </a:lnTo>
                            <a:lnTo>
                              <a:pt x="0" y="0"/>
                            </a:lnTo>
                            <a:lnTo>
                              <a:pt x="0" y="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6" name="Freeform 3035"/>
                      <p:cNvSpPr>
                        <a:spLocks/>
                      </p:cNvSpPr>
                      <p:nvPr/>
                    </p:nvSpPr>
                    <p:spPr bwMode="auto">
                      <a:xfrm>
                        <a:off x="4122" y="1471"/>
                        <a:ext cx="396" cy="468"/>
                      </a:xfrm>
                      <a:custGeom>
                        <a:avLst/>
                        <a:gdLst/>
                        <a:ahLst/>
                        <a:cxnLst>
                          <a:cxn ang="0">
                            <a:pos x="282" y="50"/>
                          </a:cxn>
                          <a:cxn ang="0">
                            <a:pos x="234" y="78"/>
                          </a:cxn>
                          <a:cxn ang="0">
                            <a:pos x="206" y="104"/>
                          </a:cxn>
                          <a:cxn ang="0">
                            <a:pos x="142" y="84"/>
                          </a:cxn>
                          <a:cxn ang="0">
                            <a:pos x="0" y="128"/>
                          </a:cxn>
                          <a:cxn ang="0">
                            <a:pos x="66" y="422"/>
                          </a:cxn>
                          <a:cxn ang="0">
                            <a:pos x="172" y="460"/>
                          </a:cxn>
                          <a:cxn ang="0">
                            <a:pos x="264" y="448"/>
                          </a:cxn>
                          <a:cxn ang="0">
                            <a:pos x="298" y="468"/>
                          </a:cxn>
                          <a:cxn ang="0">
                            <a:pos x="354" y="344"/>
                          </a:cxn>
                          <a:cxn ang="0">
                            <a:pos x="386" y="284"/>
                          </a:cxn>
                          <a:cxn ang="0">
                            <a:pos x="396" y="200"/>
                          </a:cxn>
                          <a:cxn ang="0">
                            <a:pos x="332" y="22"/>
                          </a:cxn>
                          <a:cxn ang="0">
                            <a:pos x="324" y="0"/>
                          </a:cxn>
                          <a:cxn ang="0">
                            <a:pos x="282" y="50"/>
                          </a:cxn>
                        </a:cxnLst>
                        <a:rect l="0" t="0" r="r" b="b"/>
                        <a:pathLst>
                          <a:path w="396" h="468">
                            <a:moveTo>
                              <a:pt x="282" y="50"/>
                            </a:moveTo>
                            <a:lnTo>
                              <a:pt x="234" y="78"/>
                            </a:lnTo>
                            <a:lnTo>
                              <a:pt x="206" y="104"/>
                            </a:lnTo>
                            <a:lnTo>
                              <a:pt x="142" y="84"/>
                            </a:lnTo>
                            <a:lnTo>
                              <a:pt x="0" y="128"/>
                            </a:lnTo>
                            <a:lnTo>
                              <a:pt x="66" y="422"/>
                            </a:lnTo>
                            <a:lnTo>
                              <a:pt x="172" y="460"/>
                            </a:lnTo>
                            <a:lnTo>
                              <a:pt x="264" y="448"/>
                            </a:lnTo>
                            <a:lnTo>
                              <a:pt x="298" y="468"/>
                            </a:lnTo>
                            <a:lnTo>
                              <a:pt x="354" y="344"/>
                            </a:lnTo>
                            <a:lnTo>
                              <a:pt x="386" y="284"/>
                            </a:lnTo>
                            <a:lnTo>
                              <a:pt x="396" y="200"/>
                            </a:lnTo>
                            <a:lnTo>
                              <a:pt x="332" y="22"/>
                            </a:lnTo>
                            <a:lnTo>
                              <a:pt x="324" y="0"/>
                            </a:lnTo>
                            <a:lnTo>
                              <a:pt x="282" y="5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7" name="Freeform 3036"/>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8" name="Freeform 3037"/>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49" name="Freeform 3038"/>
                      <p:cNvSpPr>
                        <a:spLocks/>
                      </p:cNvSpPr>
                      <p:nvPr/>
                    </p:nvSpPr>
                    <p:spPr bwMode="auto">
                      <a:xfrm>
                        <a:off x="4534" y="1321"/>
                        <a:ext cx="472" cy="260"/>
                      </a:xfrm>
                      <a:custGeom>
                        <a:avLst/>
                        <a:gdLst/>
                        <a:ahLst/>
                        <a:cxnLst>
                          <a:cxn ang="0">
                            <a:pos x="472" y="190"/>
                          </a:cxn>
                          <a:cxn ang="0">
                            <a:pos x="434" y="138"/>
                          </a:cxn>
                          <a:cxn ang="0">
                            <a:pos x="444" y="68"/>
                          </a:cxn>
                          <a:cxn ang="0">
                            <a:pos x="364" y="0"/>
                          </a:cxn>
                          <a:cxn ang="0">
                            <a:pos x="0" y="120"/>
                          </a:cxn>
                          <a:cxn ang="0">
                            <a:pos x="364" y="4"/>
                          </a:cxn>
                          <a:cxn ang="0">
                            <a:pos x="440" y="70"/>
                          </a:cxn>
                          <a:cxn ang="0">
                            <a:pos x="430" y="138"/>
                          </a:cxn>
                          <a:cxn ang="0">
                            <a:pos x="470" y="190"/>
                          </a:cxn>
                          <a:cxn ang="0">
                            <a:pos x="442" y="260"/>
                          </a:cxn>
                          <a:cxn ang="0">
                            <a:pos x="444" y="258"/>
                          </a:cxn>
                          <a:cxn ang="0">
                            <a:pos x="472" y="190"/>
                          </a:cxn>
                        </a:cxnLst>
                        <a:rect l="0" t="0" r="r" b="b"/>
                        <a:pathLst>
                          <a:path w="472" h="260">
                            <a:moveTo>
                              <a:pt x="472" y="190"/>
                            </a:moveTo>
                            <a:lnTo>
                              <a:pt x="434" y="138"/>
                            </a:lnTo>
                            <a:lnTo>
                              <a:pt x="444" y="68"/>
                            </a:lnTo>
                            <a:lnTo>
                              <a:pt x="364" y="0"/>
                            </a:lnTo>
                            <a:lnTo>
                              <a:pt x="0" y="120"/>
                            </a:lnTo>
                            <a:lnTo>
                              <a:pt x="364" y="4"/>
                            </a:lnTo>
                            <a:lnTo>
                              <a:pt x="440" y="70"/>
                            </a:lnTo>
                            <a:lnTo>
                              <a:pt x="430" y="138"/>
                            </a:lnTo>
                            <a:lnTo>
                              <a:pt x="470" y="190"/>
                            </a:lnTo>
                            <a:lnTo>
                              <a:pt x="442" y="260"/>
                            </a:lnTo>
                            <a:lnTo>
                              <a:pt x="444" y="258"/>
                            </a:lnTo>
                            <a:lnTo>
                              <a:pt x="472" y="19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0" name="Freeform 3039"/>
                      <p:cNvSpPr>
                        <a:spLocks/>
                      </p:cNvSpPr>
                      <p:nvPr/>
                    </p:nvSpPr>
                    <p:spPr bwMode="auto">
                      <a:xfrm>
                        <a:off x="4516" y="1325"/>
                        <a:ext cx="382" cy="120"/>
                      </a:xfrm>
                      <a:custGeom>
                        <a:avLst/>
                        <a:gdLst/>
                        <a:ahLst/>
                        <a:cxnLst>
                          <a:cxn ang="0">
                            <a:pos x="0" y="72"/>
                          </a:cxn>
                          <a:cxn ang="0">
                            <a:pos x="16" y="120"/>
                          </a:cxn>
                          <a:cxn ang="0">
                            <a:pos x="382" y="0"/>
                          </a:cxn>
                          <a:cxn ang="0">
                            <a:pos x="18" y="116"/>
                          </a:cxn>
                          <a:cxn ang="0">
                            <a:pos x="2" y="70"/>
                          </a:cxn>
                          <a:cxn ang="0">
                            <a:pos x="0" y="72"/>
                          </a:cxn>
                        </a:cxnLst>
                        <a:rect l="0" t="0" r="r" b="b"/>
                        <a:pathLst>
                          <a:path w="382" h="120">
                            <a:moveTo>
                              <a:pt x="0" y="72"/>
                            </a:moveTo>
                            <a:lnTo>
                              <a:pt x="16" y="120"/>
                            </a:lnTo>
                            <a:lnTo>
                              <a:pt x="382" y="0"/>
                            </a:lnTo>
                            <a:lnTo>
                              <a:pt x="18" y="116"/>
                            </a:lnTo>
                            <a:lnTo>
                              <a:pt x="2" y="70"/>
                            </a:lnTo>
                            <a:lnTo>
                              <a:pt x="0" y="7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1" name="Freeform 3040"/>
                      <p:cNvSpPr>
                        <a:spLocks/>
                      </p:cNvSpPr>
                      <p:nvPr/>
                    </p:nvSpPr>
                    <p:spPr bwMode="auto">
                      <a:xfrm>
                        <a:off x="4946" y="1581"/>
                        <a:ext cx="126" cy="168"/>
                      </a:xfrm>
                      <a:custGeom>
                        <a:avLst/>
                        <a:gdLst/>
                        <a:ahLst/>
                        <a:cxnLst>
                          <a:cxn ang="0">
                            <a:pos x="0" y="10"/>
                          </a:cxn>
                          <a:cxn ang="0">
                            <a:pos x="62" y="168"/>
                          </a:cxn>
                          <a:cxn ang="0">
                            <a:pos x="126" y="142"/>
                          </a:cxn>
                          <a:cxn ang="0">
                            <a:pos x="126" y="80"/>
                          </a:cxn>
                          <a:cxn ang="0">
                            <a:pos x="30" y="2"/>
                          </a:cxn>
                          <a:cxn ang="0">
                            <a:pos x="30" y="0"/>
                          </a:cxn>
                          <a:cxn ang="0">
                            <a:pos x="0" y="10"/>
                          </a:cxn>
                        </a:cxnLst>
                        <a:rect l="0" t="0" r="r" b="b"/>
                        <a:pathLst>
                          <a:path w="126" h="168">
                            <a:moveTo>
                              <a:pt x="0" y="10"/>
                            </a:moveTo>
                            <a:lnTo>
                              <a:pt x="62" y="168"/>
                            </a:lnTo>
                            <a:lnTo>
                              <a:pt x="126" y="142"/>
                            </a:lnTo>
                            <a:lnTo>
                              <a:pt x="126" y="80"/>
                            </a:lnTo>
                            <a:lnTo>
                              <a:pt x="30" y="2"/>
                            </a:lnTo>
                            <a:lnTo>
                              <a:pt x="30" y="0"/>
                            </a:lnTo>
                            <a:lnTo>
                              <a:pt x="0" y="10"/>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252" name="Freeform 3041"/>
                      <p:cNvSpPr>
                        <a:spLocks/>
                      </p:cNvSpPr>
                      <p:nvPr/>
                    </p:nvSpPr>
                    <p:spPr bwMode="auto">
                      <a:xfrm>
                        <a:off x="4446" y="1325"/>
                        <a:ext cx="558" cy="398"/>
                      </a:xfrm>
                      <a:custGeom>
                        <a:avLst/>
                        <a:gdLst/>
                        <a:ahLst/>
                        <a:cxnLst>
                          <a:cxn ang="0">
                            <a:pos x="528" y="66"/>
                          </a:cxn>
                          <a:cxn ang="0">
                            <a:pos x="452" y="0"/>
                          </a:cxn>
                          <a:cxn ang="0">
                            <a:pos x="86" y="120"/>
                          </a:cxn>
                          <a:cxn ang="0">
                            <a:pos x="70" y="72"/>
                          </a:cxn>
                          <a:cxn ang="0">
                            <a:pos x="72" y="70"/>
                          </a:cxn>
                          <a:cxn ang="0">
                            <a:pos x="88" y="116"/>
                          </a:cxn>
                          <a:cxn ang="0">
                            <a:pos x="72" y="64"/>
                          </a:cxn>
                          <a:cxn ang="0">
                            <a:pos x="0" y="146"/>
                          </a:cxn>
                          <a:cxn ang="0">
                            <a:pos x="8" y="168"/>
                          </a:cxn>
                          <a:cxn ang="0">
                            <a:pos x="2" y="150"/>
                          </a:cxn>
                          <a:cxn ang="0">
                            <a:pos x="4" y="144"/>
                          </a:cxn>
                          <a:cxn ang="0">
                            <a:pos x="78" y="344"/>
                          </a:cxn>
                          <a:cxn ang="0">
                            <a:pos x="76" y="346"/>
                          </a:cxn>
                          <a:cxn ang="0">
                            <a:pos x="78" y="348"/>
                          </a:cxn>
                          <a:cxn ang="0">
                            <a:pos x="96" y="398"/>
                          </a:cxn>
                          <a:cxn ang="0">
                            <a:pos x="182" y="372"/>
                          </a:cxn>
                          <a:cxn ang="0">
                            <a:pos x="180" y="372"/>
                          </a:cxn>
                          <a:cxn ang="0">
                            <a:pos x="498" y="262"/>
                          </a:cxn>
                          <a:cxn ang="0">
                            <a:pos x="498" y="262"/>
                          </a:cxn>
                          <a:cxn ang="0">
                            <a:pos x="498" y="262"/>
                          </a:cxn>
                          <a:cxn ang="0">
                            <a:pos x="528" y="252"/>
                          </a:cxn>
                          <a:cxn ang="0">
                            <a:pos x="558" y="186"/>
                          </a:cxn>
                          <a:cxn ang="0">
                            <a:pos x="518" y="134"/>
                          </a:cxn>
                          <a:cxn ang="0">
                            <a:pos x="528" y="66"/>
                          </a:cxn>
                        </a:cxnLst>
                        <a:rect l="0" t="0" r="r" b="b"/>
                        <a:pathLst>
                          <a:path w="558" h="398">
                            <a:moveTo>
                              <a:pt x="528" y="66"/>
                            </a:moveTo>
                            <a:lnTo>
                              <a:pt x="452" y="0"/>
                            </a:lnTo>
                            <a:lnTo>
                              <a:pt x="86" y="120"/>
                            </a:lnTo>
                            <a:lnTo>
                              <a:pt x="70" y="72"/>
                            </a:lnTo>
                            <a:lnTo>
                              <a:pt x="72" y="70"/>
                            </a:lnTo>
                            <a:lnTo>
                              <a:pt x="88" y="116"/>
                            </a:lnTo>
                            <a:lnTo>
                              <a:pt x="72" y="64"/>
                            </a:lnTo>
                            <a:lnTo>
                              <a:pt x="0" y="146"/>
                            </a:lnTo>
                            <a:lnTo>
                              <a:pt x="8" y="168"/>
                            </a:lnTo>
                            <a:lnTo>
                              <a:pt x="2" y="150"/>
                            </a:lnTo>
                            <a:lnTo>
                              <a:pt x="4" y="144"/>
                            </a:lnTo>
                            <a:lnTo>
                              <a:pt x="78" y="344"/>
                            </a:lnTo>
                            <a:lnTo>
                              <a:pt x="76" y="346"/>
                            </a:lnTo>
                            <a:lnTo>
                              <a:pt x="78" y="348"/>
                            </a:lnTo>
                            <a:lnTo>
                              <a:pt x="96" y="398"/>
                            </a:lnTo>
                            <a:lnTo>
                              <a:pt x="182" y="372"/>
                            </a:lnTo>
                            <a:lnTo>
                              <a:pt x="180" y="372"/>
                            </a:lnTo>
                            <a:lnTo>
                              <a:pt x="498" y="262"/>
                            </a:lnTo>
                            <a:lnTo>
                              <a:pt x="498" y="262"/>
                            </a:lnTo>
                            <a:lnTo>
                              <a:pt x="498" y="262"/>
                            </a:lnTo>
                            <a:lnTo>
                              <a:pt x="528" y="252"/>
                            </a:lnTo>
                            <a:lnTo>
                              <a:pt x="558" y="186"/>
                            </a:lnTo>
                            <a:lnTo>
                              <a:pt x="518" y="134"/>
                            </a:lnTo>
                            <a:lnTo>
                              <a:pt x="528" y="66"/>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253" name="Freeform 3042"/>
                      <p:cNvSpPr>
                        <a:spLocks/>
                      </p:cNvSpPr>
                      <p:nvPr/>
                    </p:nvSpPr>
                    <p:spPr bwMode="auto">
                      <a:xfrm>
                        <a:off x="4952" y="895"/>
                        <a:ext cx="102" cy="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4" name="Freeform 3043"/>
                      <p:cNvSpPr>
                        <a:spLocks/>
                      </p:cNvSpPr>
                      <p:nvPr/>
                    </p:nvSpPr>
                    <p:spPr bwMode="auto">
                      <a:xfrm>
                        <a:off x="4982" y="1389"/>
                        <a:ext cx="74" cy="18"/>
                      </a:xfrm>
                      <a:custGeom>
                        <a:avLst/>
                        <a:gdLst/>
                        <a:ahLst/>
                        <a:cxnLst>
                          <a:cxn ang="0">
                            <a:pos x="0" y="2"/>
                          </a:cxn>
                          <a:cxn ang="0">
                            <a:pos x="74" y="18"/>
                          </a:cxn>
                          <a:cxn ang="0">
                            <a:pos x="14" y="4"/>
                          </a:cxn>
                          <a:cxn ang="0">
                            <a:pos x="0" y="0"/>
                          </a:cxn>
                          <a:cxn ang="0">
                            <a:pos x="0" y="2"/>
                          </a:cxn>
                        </a:cxnLst>
                        <a:rect l="0" t="0" r="r" b="b"/>
                        <a:pathLst>
                          <a:path w="74" h="18">
                            <a:moveTo>
                              <a:pt x="0" y="2"/>
                            </a:moveTo>
                            <a:lnTo>
                              <a:pt x="74" y="18"/>
                            </a:lnTo>
                            <a:lnTo>
                              <a:pt x="14" y="4"/>
                            </a:lnTo>
                            <a:lnTo>
                              <a:pt x="0" y="0"/>
                            </a:lnTo>
                            <a:lnTo>
                              <a:pt x="0" y="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5" name="Freeform 3044"/>
                      <p:cNvSpPr>
                        <a:spLocks/>
                      </p:cNvSpPr>
                      <p:nvPr/>
                    </p:nvSpPr>
                    <p:spPr bwMode="auto">
                      <a:xfrm>
                        <a:off x="5054" y="1253"/>
                        <a:ext cx="62" cy="136"/>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6" name="Freeform 3045"/>
                      <p:cNvSpPr>
                        <a:spLocks/>
                      </p:cNvSpPr>
                      <p:nvPr/>
                    </p:nvSpPr>
                    <p:spPr bwMode="auto">
                      <a:xfrm>
                        <a:off x="5056" y="1407"/>
                        <a:ext cx="50" cy="14"/>
                      </a:xfrm>
                      <a:custGeom>
                        <a:avLst/>
                        <a:gdLst/>
                        <a:ahLst/>
                        <a:cxnLst>
                          <a:cxn ang="0">
                            <a:pos x="50" y="12"/>
                          </a:cxn>
                          <a:cxn ang="0">
                            <a:pos x="0" y="0"/>
                          </a:cxn>
                          <a:cxn ang="0">
                            <a:pos x="50" y="14"/>
                          </a:cxn>
                          <a:cxn ang="0">
                            <a:pos x="50" y="12"/>
                          </a:cxn>
                        </a:cxnLst>
                        <a:rect l="0" t="0" r="r" b="b"/>
                        <a:pathLst>
                          <a:path w="50" h="14">
                            <a:moveTo>
                              <a:pt x="50" y="12"/>
                            </a:moveTo>
                            <a:lnTo>
                              <a:pt x="0" y="0"/>
                            </a:lnTo>
                            <a:lnTo>
                              <a:pt x="50" y="14"/>
                            </a:lnTo>
                            <a:lnTo>
                              <a:pt x="50" y="1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7" name="Freeform 3046"/>
                      <p:cNvSpPr>
                        <a:spLocks/>
                      </p:cNvSpPr>
                      <p:nvPr/>
                    </p:nvSpPr>
                    <p:spPr bwMode="auto">
                      <a:xfrm>
                        <a:off x="4968" y="1387"/>
                        <a:ext cx="138" cy="268"/>
                      </a:xfrm>
                      <a:custGeom>
                        <a:avLst/>
                        <a:gdLst/>
                        <a:ahLst/>
                        <a:cxnLst>
                          <a:cxn ang="0">
                            <a:pos x="10" y="2"/>
                          </a:cxn>
                          <a:cxn ang="0">
                            <a:pos x="0" y="72"/>
                          </a:cxn>
                          <a:cxn ang="0">
                            <a:pos x="38" y="124"/>
                          </a:cxn>
                          <a:cxn ang="0">
                            <a:pos x="10" y="192"/>
                          </a:cxn>
                          <a:cxn ang="0">
                            <a:pos x="8" y="194"/>
                          </a:cxn>
                          <a:cxn ang="0">
                            <a:pos x="8" y="196"/>
                          </a:cxn>
                          <a:cxn ang="0">
                            <a:pos x="10" y="194"/>
                          </a:cxn>
                          <a:cxn ang="0">
                            <a:pos x="104" y="268"/>
                          </a:cxn>
                          <a:cxn ang="0">
                            <a:pos x="104" y="226"/>
                          </a:cxn>
                          <a:cxn ang="0">
                            <a:pos x="134" y="80"/>
                          </a:cxn>
                          <a:cxn ang="0">
                            <a:pos x="104" y="56"/>
                          </a:cxn>
                          <a:cxn ang="0">
                            <a:pos x="136" y="40"/>
                          </a:cxn>
                          <a:cxn ang="0">
                            <a:pos x="138" y="34"/>
                          </a:cxn>
                          <a:cxn ang="0">
                            <a:pos x="88" y="20"/>
                          </a:cxn>
                          <a:cxn ang="0">
                            <a:pos x="14" y="4"/>
                          </a:cxn>
                          <a:cxn ang="0">
                            <a:pos x="14" y="2"/>
                          </a:cxn>
                          <a:cxn ang="0">
                            <a:pos x="28" y="6"/>
                          </a:cxn>
                          <a:cxn ang="0">
                            <a:pos x="6" y="0"/>
                          </a:cxn>
                          <a:cxn ang="0">
                            <a:pos x="10" y="2"/>
                          </a:cxn>
                        </a:cxnLst>
                        <a:rect l="0" t="0" r="r" b="b"/>
                        <a:pathLst>
                          <a:path w="138" h="268">
                            <a:moveTo>
                              <a:pt x="10" y="2"/>
                            </a:moveTo>
                            <a:lnTo>
                              <a:pt x="0" y="72"/>
                            </a:lnTo>
                            <a:lnTo>
                              <a:pt x="38" y="124"/>
                            </a:lnTo>
                            <a:lnTo>
                              <a:pt x="10" y="192"/>
                            </a:lnTo>
                            <a:lnTo>
                              <a:pt x="8" y="194"/>
                            </a:lnTo>
                            <a:lnTo>
                              <a:pt x="8" y="196"/>
                            </a:lnTo>
                            <a:lnTo>
                              <a:pt x="10" y="194"/>
                            </a:lnTo>
                            <a:lnTo>
                              <a:pt x="104" y="268"/>
                            </a:lnTo>
                            <a:lnTo>
                              <a:pt x="104" y="226"/>
                            </a:lnTo>
                            <a:lnTo>
                              <a:pt x="134" y="80"/>
                            </a:lnTo>
                            <a:lnTo>
                              <a:pt x="104" y="56"/>
                            </a:lnTo>
                            <a:lnTo>
                              <a:pt x="136" y="40"/>
                            </a:lnTo>
                            <a:lnTo>
                              <a:pt x="138" y="34"/>
                            </a:lnTo>
                            <a:lnTo>
                              <a:pt x="88" y="20"/>
                            </a:lnTo>
                            <a:lnTo>
                              <a:pt x="14" y="4"/>
                            </a:lnTo>
                            <a:lnTo>
                              <a:pt x="14" y="2"/>
                            </a:lnTo>
                            <a:lnTo>
                              <a:pt x="28" y="6"/>
                            </a:lnTo>
                            <a:lnTo>
                              <a:pt x="6" y="0"/>
                            </a:lnTo>
                            <a:lnTo>
                              <a:pt x="10" y="2"/>
                            </a:lnTo>
                            <a:close/>
                          </a:path>
                        </a:pathLst>
                      </a:custGeom>
                      <a:solidFill>
                        <a:srgbClr val="92D050"/>
                      </a:solidFill>
                      <a:ln w="0">
                        <a:solidFill>
                          <a:schemeClr val="bg1"/>
                        </a:solidFill>
                        <a:prstDash val="solid"/>
                        <a:round/>
                        <a:headEnd/>
                        <a:tailEnd/>
                      </a:ln>
                    </p:spPr>
                    <p:txBody>
                      <a:bodyPr/>
                      <a:lstStyle/>
                      <a:p>
                        <a:pPr>
                          <a:defRPr/>
                        </a:pPr>
                        <a:endParaRPr lang="da-DK" sz="800">
                          <a:solidFill>
                            <a:prstClr val="black"/>
                          </a:solidFill>
                        </a:endParaRPr>
                      </a:p>
                    </p:txBody>
                  </p:sp>
                  <p:sp>
                    <p:nvSpPr>
                      <p:cNvPr id="258" name="Freeform 3047"/>
                      <p:cNvSpPr>
                        <a:spLocks/>
                      </p:cNvSpPr>
                      <p:nvPr/>
                    </p:nvSpPr>
                    <p:spPr bwMode="auto">
                      <a:xfrm>
                        <a:off x="5054" y="1253"/>
                        <a:ext cx="12" cy="82"/>
                      </a:xfrm>
                      <a:custGeom>
                        <a:avLst/>
                        <a:gdLst/>
                        <a:ahLst/>
                        <a:cxnLst>
                          <a:cxn ang="0">
                            <a:pos x="12" y="82"/>
                          </a:cxn>
                          <a:cxn ang="0">
                            <a:pos x="0" y="0"/>
                          </a:cxn>
                          <a:cxn ang="0">
                            <a:pos x="6" y="58"/>
                          </a:cxn>
                          <a:cxn ang="0">
                            <a:pos x="12" y="82"/>
                          </a:cxn>
                        </a:cxnLst>
                        <a:rect l="0" t="0" r="r" b="b"/>
                        <a:pathLst>
                          <a:path w="12" h="82">
                            <a:moveTo>
                              <a:pt x="12" y="82"/>
                            </a:moveTo>
                            <a:lnTo>
                              <a:pt x="0" y="0"/>
                            </a:lnTo>
                            <a:lnTo>
                              <a:pt x="6" y="58"/>
                            </a:lnTo>
                            <a:lnTo>
                              <a:pt x="12" y="8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59" name="Freeform 3048"/>
                      <p:cNvSpPr>
                        <a:spLocks/>
                      </p:cNvSpPr>
                      <p:nvPr/>
                    </p:nvSpPr>
                    <p:spPr bwMode="auto">
                      <a:xfrm>
                        <a:off x="4952" y="895"/>
                        <a:ext cx="102" cy="358"/>
                      </a:xfrm>
                      <a:custGeom>
                        <a:avLst/>
                        <a:gdLst/>
                        <a:ahLst/>
                        <a:cxnLst>
                          <a:cxn ang="0">
                            <a:pos x="38" y="132"/>
                          </a:cxn>
                          <a:cxn ang="0">
                            <a:pos x="102" y="358"/>
                          </a:cxn>
                          <a:cxn ang="0">
                            <a:pos x="80" y="276"/>
                          </a:cxn>
                          <a:cxn ang="0">
                            <a:pos x="40" y="132"/>
                          </a:cxn>
                          <a:cxn ang="0">
                            <a:pos x="2" y="0"/>
                          </a:cxn>
                          <a:cxn ang="0">
                            <a:pos x="0" y="0"/>
                          </a:cxn>
                          <a:cxn ang="0">
                            <a:pos x="8" y="34"/>
                          </a:cxn>
                          <a:cxn ang="0">
                            <a:pos x="38" y="132"/>
                          </a:cxn>
                        </a:cxnLst>
                        <a:rect l="0" t="0" r="r" b="b"/>
                        <a:pathLst>
                          <a:path w="102" h="358">
                            <a:moveTo>
                              <a:pt x="38" y="132"/>
                            </a:moveTo>
                            <a:lnTo>
                              <a:pt x="102" y="358"/>
                            </a:lnTo>
                            <a:lnTo>
                              <a:pt x="80" y="276"/>
                            </a:lnTo>
                            <a:lnTo>
                              <a:pt x="40" y="132"/>
                            </a:lnTo>
                            <a:lnTo>
                              <a:pt x="2" y="0"/>
                            </a:lnTo>
                            <a:lnTo>
                              <a:pt x="0" y="0"/>
                            </a:lnTo>
                            <a:lnTo>
                              <a:pt x="8" y="34"/>
                            </a:lnTo>
                            <a:lnTo>
                              <a:pt x="38" y="132"/>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60" name="Freeform 3049"/>
                      <p:cNvSpPr>
                        <a:spLocks/>
                      </p:cNvSpPr>
                      <p:nvPr/>
                    </p:nvSpPr>
                    <p:spPr bwMode="auto">
                      <a:xfrm>
                        <a:off x="4952" y="895"/>
                        <a:ext cx="8" cy="34"/>
                      </a:xfrm>
                      <a:custGeom>
                        <a:avLst/>
                        <a:gdLst/>
                        <a:ahLst/>
                        <a:cxnLst>
                          <a:cxn ang="0">
                            <a:pos x="8" y="34"/>
                          </a:cxn>
                          <a:cxn ang="0">
                            <a:pos x="0" y="0"/>
                          </a:cxn>
                          <a:cxn ang="0">
                            <a:pos x="0" y="0"/>
                          </a:cxn>
                          <a:cxn ang="0">
                            <a:pos x="8" y="34"/>
                          </a:cxn>
                        </a:cxnLst>
                        <a:rect l="0" t="0" r="r" b="b"/>
                        <a:pathLst>
                          <a:path w="8" h="34">
                            <a:moveTo>
                              <a:pt x="8" y="34"/>
                            </a:moveTo>
                            <a:lnTo>
                              <a:pt x="0" y="0"/>
                            </a:lnTo>
                            <a:lnTo>
                              <a:pt x="0" y="0"/>
                            </a:lnTo>
                            <a:lnTo>
                              <a:pt x="8" y="3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61" name="Freeform 3050"/>
                      <p:cNvSpPr>
                        <a:spLocks/>
                      </p:cNvSpPr>
                      <p:nvPr/>
                    </p:nvSpPr>
                    <p:spPr bwMode="auto">
                      <a:xfrm>
                        <a:off x="5066" y="1335"/>
                        <a:ext cx="50" cy="54"/>
                      </a:xfrm>
                      <a:custGeom>
                        <a:avLst/>
                        <a:gdLst/>
                        <a:ahLst/>
                        <a:cxnLst>
                          <a:cxn ang="0">
                            <a:pos x="50" y="54"/>
                          </a:cxn>
                          <a:cxn ang="0">
                            <a:pos x="0" y="0"/>
                          </a:cxn>
                          <a:cxn ang="0">
                            <a:pos x="46" y="50"/>
                          </a:cxn>
                          <a:cxn ang="0">
                            <a:pos x="50" y="54"/>
                          </a:cxn>
                        </a:cxnLst>
                        <a:rect l="0" t="0" r="r" b="b"/>
                        <a:pathLst>
                          <a:path w="50" h="54">
                            <a:moveTo>
                              <a:pt x="50" y="54"/>
                            </a:moveTo>
                            <a:lnTo>
                              <a:pt x="0" y="0"/>
                            </a:lnTo>
                            <a:lnTo>
                              <a:pt x="46" y="50"/>
                            </a:lnTo>
                            <a:lnTo>
                              <a:pt x="50" y="54"/>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sp>
                    <p:nvSpPr>
                      <p:cNvPr id="262" name="Freeform 3051"/>
                      <p:cNvSpPr>
                        <a:spLocks/>
                      </p:cNvSpPr>
                      <p:nvPr/>
                    </p:nvSpPr>
                    <p:spPr bwMode="auto">
                      <a:xfrm>
                        <a:off x="5060" y="1311"/>
                        <a:ext cx="52" cy="74"/>
                      </a:xfrm>
                      <a:custGeom>
                        <a:avLst/>
                        <a:gdLst/>
                        <a:ahLst/>
                        <a:cxnLst>
                          <a:cxn ang="0">
                            <a:pos x="4" y="26"/>
                          </a:cxn>
                          <a:cxn ang="0">
                            <a:pos x="52" y="74"/>
                          </a:cxn>
                          <a:cxn ang="0">
                            <a:pos x="6" y="24"/>
                          </a:cxn>
                          <a:cxn ang="0">
                            <a:pos x="0" y="0"/>
                          </a:cxn>
                          <a:cxn ang="0">
                            <a:pos x="4" y="26"/>
                          </a:cxn>
                        </a:cxnLst>
                        <a:rect l="0" t="0" r="r" b="b"/>
                        <a:pathLst>
                          <a:path w="52" h="74">
                            <a:moveTo>
                              <a:pt x="4" y="26"/>
                            </a:moveTo>
                            <a:lnTo>
                              <a:pt x="52" y="74"/>
                            </a:lnTo>
                            <a:lnTo>
                              <a:pt x="6" y="24"/>
                            </a:lnTo>
                            <a:lnTo>
                              <a:pt x="0" y="0"/>
                            </a:lnTo>
                            <a:lnTo>
                              <a:pt x="4" y="26"/>
                            </a:lnTo>
                            <a:close/>
                          </a:path>
                        </a:pathLst>
                      </a:custGeom>
                      <a:grpFill/>
                      <a:ln w="0">
                        <a:solidFill>
                          <a:schemeClr val="bg1"/>
                        </a:solidFill>
                        <a:prstDash val="solid"/>
                        <a:round/>
                        <a:headEnd/>
                        <a:tailEnd/>
                      </a:ln>
                    </p:spPr>
                    <p:txBody>
                      <a:bodyPr/>
                      <a:lstStyle/>
                      <a:p>
                        <a:pPr>
                          <a:defRPr/>
                        </a:pPr>
                        <a:endParaRPr lang="da-DK" sz="800">
                          <a:solidFill>
                            <a:prstClr val="black"/>
                          </a:solidFill>
                        </a:endParaRPr>
                      </a:p>
                    </p:txBody>
                  </p:sp>
                </p:grpSp>
                <p:sp>
                  <p:nvSpPr>
                    <p:cNvPr id="68" name="Line 3080"/>
                    <p:cNvSpPr>
                      <a:spLocks noChangeShapeType="1"/>
                    </p:cNvSpPr>
                    <p:nvPr/>
                  </p:nvSpPr>
                  <p:spPr bwMode="auto">
                    <a:xfrm>
                      <a:off x="4360909" y="5385612"/>
                      <a:ext cx="1493" cy="1493"/>
                    </a:xfrm>
                    <a:prstGeom prst="line">
                      <a:avLst/>
                    </a:prstGeom>
                    <a:grpFill/>
                    <a:ln w="0">
                      <a:solidFill>
                        <a:schemeClr val="bg1"/>
                      </a:solidFill>
                      <a:prstDash val="solid"/>
                      <a:round/>
                      <a:headEnd/>
                      <a:tailEnd/>
                    </a:ln>
                  </p:spPr>
                  <p:txBody>
                    <a:bodyPr/>
                    <a:lstStyle/>
                    <a:p>
                      <a:pPr>
                        <a:defRPr/>
                      </a:pPr>
                      <a:endParaRPr lang="da-DK" sz="800">
                        <a:solidFill>
                          <a:prstClr val="black"/>
                        </a:solidFill>
                      </a:endParaRPr>
                    </a:p>
                  </p:txBody>
                </p:sp>
              </p:grpSp>
              <p:sp>
                <p:nvSpPr>
                  <p:cNvPr id="63" name="Line 3117"/>
                  <p:cNvSpPr>
                    <a:spLocks noChangeShapeType="1"/>
                  </p:cNvSpPr>
                  <p:nvPr/>
                </p:nvSpPr>
                <p:spPr bwMode="auto">
                  <a:xfrm>
                    <a:off x="7947449" y="1089044"/>
                    <a:ext cx="1493" cy="1493"/>
                  </a:xfrm>
                  <a:prstGeom prst="line">
                    <a:avLst/>
                  </a:prstGeom>
                  <a:grpFill/>
                  <a:ln w="0">
                    <a:solidFill>
                      <a:schemeClr val="bg1"/>
                    </a:solidFill>
                    <a:round/>
                    <a:headEnd/>
                    <a:tailEnd/>
                  </a:ln>
                </p:spPr>
                <p:txBody>
                  <a:bodyPr/>
                  <a:lstStyle/>
                  <a:p>
                    <a:pPr>
                      <a:defRPr/>
                    </a:pPr>
                    <a:endParaRPr lang="da-DK" sz="800">
                      <a:solidFill>
                        <a:prstClr val="black"/>
                      </a:solidFill>
                    </a:endParaRPr>
                  </a:p>
                </p:txBody>
              </p:sp>
              <p:sp>
                <p:nvSpPr>
                  <p:cNvPr id="64" name="Line 3118"/>
                  <p:cNvSpPr>
                    <a:spLocks noChangeShapeType="1"/>
                  </p:cNvSpPr>
                  <p:nvPr/>
                </p:nvSpPr>
                <p:spPr bwMode="auto">
                  <a:xfrm>
                    <a:off x="7947449" y="1089044"/>
                    <a:ext cx="1493" cy="1493"/>
                  </a:xfrm>
                  <a:prstGeom prst="line">
                    <a:avLst/>
                  </a:prstGeom>
                  <a:grpFill/>
                  <a:ln w="0">
                    <a:solidFill>
                      <a:schemeClr val="bg1"/>
                    </a:solidFill>
                    <a:round/>
                    <a:headEnd/>
                    <a:tailEnd/>
                  </a:ln>
                </p:spPr>
                <p:txBody>
                  <a:bodyPr/>
                  <a:lstStyle/>
                  <a:p>
                    <a:pPr>
                      <a:defRPr/>
                    </a:pPr>
                    <a:endParaRPr lang="da-DK" sz="800">
                      <a:solidFill>
                        <a:prstClr val="black"/>
                      </a:solidFill>
                    </a:endParaRPr>
                  </a:p>
                </p:txBody>
              </p:sp>
              <p:sp>
                <p:nvSpPr>
                  <p:cNvPr id="65" name="Line 3119"/>
                  <p:cNvSpPr>
                    <a:spLocks noChangeShapeType="1"/>
                  </p:cNvSpPr>
                  <p:nvPr/>
                </p:nvSpPr>
                <p:spPr bwMode="auto">
                  <a:xfrm>
                    <a:off x="7875804" y="1954760"/>
                    <a:ext cx="1493" cy="1493"/>
                  </a:xfrm>
                  <a:prstGeom prst="line">
                    <a:avLst/>
                  </a:prstGeom>
                  <a:grpFill/>
                  <a:ln w="0">
                    <a:solidFill>
                      <a:schemeClr val="bg1"/>
                    </a:solidFill>
                    <a:prstDash val="solid"/>
                    <a:round/>
                    <a:headEnd/>
                    <a:tailEnd/>
                  </a:ln>
                </p:spPr>
                <p:txBody>
                  <a:bodyPr/>
                  <a:lstStyle/>
                  <a:p>
                    <a:pPr>
                      <a:defRPr/>
                    </a:pPr>
                    <a:endParaRPr lang="da-DK" sz="800">
                      <a:solidFill>
                        <a:prstClr val="black"/>
                      </a:solidFill>
                    </a:endParaRPr>
                  </a:p>
                </p:txBody>
              </p:sp>
              <p:sp>
                <p:nvSpPr>
                  <p:cNvPr id="66" name="Line 3120"/>
                  <p:cNvSpPr>
                    <a:spLocks noChangeShapeType="1"/>
                  </p:cNvSpPr>
                  <p:nvPr/>
                </p:nvSpPr>
                <p:spPr bwMode="auto">
                  <a:xfrm>
                    <a:off x="8240002" y="1742809"/>
                    <a:ext cx="1493" cy="1493"/>
                  </a:xfrm>
                  <a:prstGeom prst="line">
                    <a:avLst/>
                  </a:prstGeom>
                  <a:grpFill/>
                  <a:ln w="0">
                    <a:solidFill>
                      <a:schemeClr val="bg1"/>
                    </a:solidFill>
                    <a:prstDash val="solid"/>
                    <a:round/>
                    <a:headEnd/>
                    <a:tailEnd/>
                  </a:ln>
                </p:spPr>
                <p:txBody>
                  <a:bodyPr/>
                  <a:lstStyle/>
                  <a:p>
                    <a:pPr>
                      <a:defRPr/>
                    </a:pPr>
                    <a:endParaRPr lang="da-DK" sz="800">
                      <a:solidFill>
                        <a:prstClr val="black"/>
                      </a:solidFill>
                    </a:endParaRPr>
                  </a:p>
                </p:txBody>
              </p:sp>
            </p:grpSp>
          </p:grpSp>
        </p:grpSp>
      </p:grpSp>
      <p:grpSp>
        <p:nvGrpSpPr>
          <p:cNvPr id="95235" name="Gruppe 475"/>
          <p:cNvGrpSpPr>
            <a:grpSpLocks/>
          </p:cNvGrpSpPr>
          <p:nvPr/>
        </p:nvGrpSpPr>
        <p:grpSpPr bwMode="auto">
          <a:xfrm>
            <a:off x="2404156" y="1248210"/>
            <a:ext cx="7272337" cy="4027488"/>
            <a:chOff x="1273445" y="1894614"/>
            <a:chExt cx="6345596" cy="3288878"/>
          </a:xfrm>
        </p:grpSpPr>
        <p:sp>
          <p:nvSpPr>
            <p:cNvPr id="95286" name="Tekstboks 476"/>
            <p:cNvSpPr txBox="1">
              <a:spLocks noChangeArrowheads="1"/>
            </p:cNvSpPr>
            <p:nvPr/>
          </p:nvSpPr>
          <p:spPr bwMode="auto">
            <a:xfrm>
              <a:off x="1460481" y="1894614"/>
              <a:ext cx="601734"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Washington</a:t>
              </a:r>
            </a:p>
          </p:txBody>
        </p:sp>
        <p:sp>
          <p:nvSpPr>
            <p:cNvPr id="95287" name="Tekstboks 477"/>
            <p:cNvSpPr txBox="1">
              <a:spLocks noChangeArrowheads="1"/>
            </p:cNvSpPr>
            <p:nvPr/>
          </p:nvSpPr>
          <p:spPr bwMode="auto">
            <a:xfrm>
              <a:off x="1477604" y="2464139"/>
              <a:ext cx="43248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Oregon</a:t>
              </a:r>
            </a:p>
          </p:txBody>
        </p:sp>
        <p:sp>
          <p:nvSpPr>
            <p:cNvPr id="95288" name="Tekstboks 478"/>
            <p:cNvSpPr txBox="1">
              <a:spLocks noChangeArrowheads="1"/>
            </p:cNvSpPr>
            <p:nvPr/>
          </p:nvSpPr>
          <p:spPr bwMode="auto">
            <a:xfrm>
              <a:off x="1273445" y="3659478"/>
              <a:ext cx="51221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California</a:t>
              </a:r>
            </a:p>
          </p:txBody>
        </p:sp>
        <p:sp>
          <p:nvSpPr>
            <p:cNvPr id="95289" name="Tekstboks 479"/>
            <p:cNvSpPr txBox="1">
              <a:spLocks noChangeArrowheads="1"/>
            </p:cNvSpPr>
            <p:nvPr/>
          </p:nvSpPr>
          <p:spPr bwMode="auto">
            <a:xfrm>
              <a:off x="1725376" y="3237194"/>
              <a:ext cx="43808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Nevada</a:t>
              </a:r>
            </a:p>
          </p:txBody>
        </p:sp>
        <p:sp>
          <p:nvSpPr>
            <p:cNvPr id="95290" name="Tekstboks 480"/>
            <p:cNvSpPr txBox="1">
              <a:spLocks noChangeArrowheads="1"/>
            </p:cNvSpPr>
            <p:nvPr/>
          </p:nvSpPr>
          <p:spPr bwMode="auto">
            <a:xfrm>
              <a:off x="2205570" y="2739412"/>
              <a:ext cx="36954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Idaho</a:t>
              </a:r>
            </a:p>
          </p:txBody>
        </p:sp>
        <p:sp>
          <p:nvSpPr>
            <p:cNvPr id="95291" name="Tekstboks 481"/>
            <p:cNvSpPr txBox="1">
              <a:spLocks noChangeArrowheads="1"/>
            </p:cNvSpPr>
            <p:nvPr/>
          </p:nvSpPr>
          <p:spPr bwMode="auto">
            <a:xfrm>
              <a:off x="2681870" y="2206947"/>
              <a:ext cx="496829"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Montana</a:t>
              </a:r>
            </a:p>
          </p:txBody>
        </p:sp>
        <p:sp>
          <p:nvSpPr>
            <p:cNvPr id="95292" name="Tekstboks 482"/>
            <p:cNvSpPr txBox="1">
              <a:spLocks noChangeArrowheads="1"/>
            </p:cNvSpPr>
            <p:nvPr/>
          </p:nvSpPr>
          <p:spPr bwMode="auto">
            <a:xfrm>
              <a:off x="2869301" y="2858208"/>
              <a:ext cx="510817"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Wyoming</a:t>
              </a:r>
            </a:p>
          </p:txBody>
        </p:sp>
        <p:sp>
          <p:nvSpPr>
            <p:cNvPr id="95293" name="Tekstboks 483"/>
            <p:cNvSpPr txBox="1">
              <a:spLocks noChangeArrowheads="1"/>
            </p:cNvSpPr>
            <p:nvPr/>
          </p:nvSpPr>
          <p:spPr bwMode="auto">
            <a:xfrm>
              <a:off x="3046847" y="3595359"/>
              <a:ext cx="494032"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Colorado</a:t>
              </a:r>
            </a:p>
          </p:txBody>
        </p:sp>
        <p:sp>
          <p:nvSpPr>
            <p:cNvPr id="95294" name="Tekstboks 484"/>
            <p:cNvSpPr txBox="1">
              <a:spLocks noChangeArrowheads="1"/>
            </p:cNvSpPr>
            <p:nvPr/>
          </p:nvSpPr>
          <p:spPr bwMode="auto">
            <a:xfrm>
              <a:off x="2391999" y="3447926"/>
              <a:ext cx="33877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Utah</a:t>
              </a:r>
            </a:p>
          </p:txBody>
        </p:sp>
        <p:sp>
          <p:nvSpPr>
            <p:cNvPr id="95295" name="Tekstboks 485"/>
            <p:cNvSpPr txBox="1">
              <a:spLocks noChangeArrowheads="1"/>
            </p:cNvSpPr>
            <p:nvPr/>
          </p:nvSpPr>
          <p:spPr bwMode="auto">
            <a:xfrm>
              <a:off x="2889609" y="4308200"/>
              <a:ext cx="61432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New Mexico</a:t>
              </a:r>
            </a:p>
          </p:txBody>
        </p:sp>
        <p:sp>
          <p:nvSpPr>
            <p:cNvPr id="95296" name="Tekstboks 486"/>
            <p:cNvSpPr txBox="1">
              <a:spLocks noChangeArrowheads="1"/>
            </p:cNvSpPr>
            <p:nvPr/>
          </p:nvSpPr>
          <p:spPr bwMode="auto">
            <a:xfrm>
              <a:off x="2204417" y="4117759"/>
              <a:ext cx="43808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Arizona</a:t>
              </a:r>
            </a:p>
          </p:txBody>
        </p:sp>
        <p:sp>
          <p:nvSpPr>
            <p:cNvPr id="95297" name="Tekstboks 487"/>
            <p:cNvSpPr txBox="1">
              <a:spLocks noChangeArrowheads="1"/>
            </p:cNvSpPr>
            <p:nvPr/>
          </p:nvSpPr>
          <p:spPr bwMode="auto">
            <a:xfrm>
              <a:off x="4021195" y="4763945"/>
              <a:ext cx="36674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Texas</a:t>
              </a:r>
            </a:p>
          </p:txBody>
        </p:sp>
        <p:sp>
          <p:nvSpPr>
            <p:cNvPr id="95298" name="Tekstboks 488"/>
            <p:cNvSpPr txBox="1">
              <a:spLocks noChangeArrowheads="1"/>
            </p:cNvSpPr>
            <p:nvPr/>
          </p:nvSpPr>
          <p:spPr bwMode="auto">
            <a:xfrm>
              <a:off x="4091531" y="4016808"/>
              <a:ext cx="53459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Oklahoma</a:t>
              </a:r>
            </a:p>
          </p:txBody>
        </p:sp>
        <p:sp>
          <p:nvSpPr>
            <p:cNvPr id="95299" name="Tekstboks 489"/>
            <p:cNvSpPr txBox="1">
              <a:spLocks noChangeArrowheads="1"/>
            </p:cNvSpPr>
            <p:nvPr/>
          </p:nvSpPr>
          <p:spPr bwMode="auto">
            <a:xfrm>
              <a:off x="3976464" y="3592954"/>
              <a:ext cx="411507"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Kansas</a:t>
              </a:r>
            </a:p>
          </p:txBody>
        </p:sp>
        <p:sp>
          <p:nvSpPr>
            <p:cNvPr id="95300" name="Tekstboks 490"/>
            <p:cNvSpPr txBox="1">
              <a:spLocks noChangeArrowheads="1"/>
            </p:cNvSpPr>
            <p:nvPr/>
          </p:nvSpPr>
          <p:spPr bwMode="auto">
            <a:xfrm>
              <a:off x="3791932" y="3108244"/>
              <a:ext cx="50382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Nebraska</a:t>
              </a:r>
            </a:p>
          </p:txBody>
        </p:sp>
        <p:sp>
          <p:nvSpPr>
            <p:cNvPr id="95301" name="Tekstboks 491"/>
            <p:cNvSpPr txBox="1">
              <a:spLocks noChangeArrowheads="1"/>
            </p:cNvSpPr>
            <p:nvPr/>
          </p:nvSpPr>
          <p:spPr bwMode="auto">
            <a:xfrm>
              <a:off x="3715142" y="2672692"/>
              <a:ext cx="65208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South Dakota</a:t>
              </a:r>
            </a:p>
          </p:txBody>
        </p:sp>
        <p:sp>
          <p:nvSpPr>
            <p:cNvPr id="95302" name="Tekstboks 492"/>
            <p:cNvSpPr txBox="1">
              <a:spLocks noChangeArrowheads="1"/>
            </p:cNvSpPr>
            <p:nvPr/>
          </p:nvSpPr>
          <p:spPr bwMode="auto">
            <a:xfrm>
              <a:off x="3654288" y="2227618"/>
              <a:ext cx="65208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North Dakota</a:t>
              </a:r>
            </a:p>
          </p:txBody>
        </p:sp>
        <p:sp>
          <p:nvSpPr>
            <p:cNvPr id="95303" name="Tekstboks 493"/>
            <p:cNvSpPr txBox="1">
              <a:spLocks noChangeArrowheads="1"/>
            </p:cNvSpPr>
            <p:nvPr/>
          </p:nvSpPr>
          <p:spPr bwMode="auto">
            <a:xfrm>
              <a:off x="4422507" y="2223574"/>
              <a:ext cx="554177"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Minnesota</a:t>
              </a:r>
            </a:p>
          </p:txBody>
        </p:sp>
        <p:sp>
          <p:nvSpPr>
            <p:cNvPr id="95304" name="Tekstboks 494"/>
            <p:cNvSpPr txBox="1">
              <a:spLocks noChangeArrowheads="1"/>
            </p:cNvSpPr>
            <p:nvPr/>
          </p:nvSpPr>
          <p:spPr bwMode="auto">
            <a:xfrm>
              <a:off x="4977822" y="2529502"/>
              <a:ext cx="533196"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Wisconsin</a:t>
              </a:r>
            </a:p>
          </p:txBody>
        </p:sp>
        <p:sp>
          <p:nvSpPr>
            <p:cNvPr id="95305" name="Tekstboks 495"/>
            <p:cNvSpPr txBox="1">
              <a:spLocks noChangeArrowheads="1"/>
            </p:cNvSpPr>
            <p:nvPr/>
          </p:nvSpPr>
          <p:spPr bwMode="auto">
            <a:xfrm>
              <a:off x="5166492" y="3228709"/>
              <a:ext cx="397520"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Illinois</a:t>
              </a:r>
            </a:p>
          </p:txBody>
        </p:sp>
        <p:sp>
          <p:nvSpPr>
            <p:cNvPr id="95306" name="Tekstboks 496"/>
            <p:cNvSpPr txBox="1">
              <a:spLocks noChangeArrowheads="1"/>
            </p:cNvSpPr>
            <p:nvPr/>
          </p:nvSpPr>
          <p:spPr bwMode="auto">
            <a:xfrm>
              <a:off x="4667654" y="2982025"/>
              <a:ext cx="338773"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Iowa</a:t>
              </a:r>
            </a:p>
          </p:txBody>
        </p:sp>
        <p:sp>
          <p:nvSpPr>
            <p:cNvPr id="95307" name="Tekstboks 497"/>
            <p:cNvSpPr txBox="1">
              <a:spLocks noChangeArrowheads="1"/>
            </p:cNvSpPr>
            <p:nvPr/>
          </p:nvSpPr>
          <p:spPr bwMode="auto">
            <a:xfrm>
              <a:off x="4813167" y="3625697"/>
              <a:ext cx="47584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Missouri</a:t>
              </a:r>
            </a:p>
          </p:txBody>
        </p:sp>
        <p:sp>
          <p:nvSpPr>
            <p:cNvPr id="95308" name="Tekstboks 498"/>
            <p:cNvSpPr txBox="1">
              <a:spLocks noChangeArrowheads="1"/>
            </p:cNvSpPr>
            <p:nvPr/>
          </p:nvSpPr>
          <p:spPr bwMode="auto">
            <a:xfrm>
              <a:off x="4869742" y="4131058"/>
              <a:ext cx="488437"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Arkansas</a:t>
              </a:r>
            </a:p>
          </p:txBody>
        </p:sp>
        <p:sp>
          <p:nvSpPr>
            <p:cNvPr id="95309" name="Tekstboks 499"/>
            <p:cNvSpPr txBox="1">
              <a:spLocks noChangeArrowheads="1"/>
            </p:cNvSpPr>
            <p:nvPr/>
          </p:nvSpPr>
          <p:spPr bwMode="auto">
            <a:xfrm>
              <a:off x="5017494" y="4807705"/>
              <a:ext cx="505222"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Louisiana</a:t>
              </a:r>
            </a:p>
          </p:txBody>
        </p:sp>
        <p:sp>
          <p:nvSpPr>
            <p:cNvPr id="95310" name="Tekstboks 500"/>
            <p:cNvSpPr txBox="1">
              <a:spLocks noChangeArrowheads="1"/>
            </p:cNvSpPr>
            <p:nvPr/>
          </p:nvSpPr>
          <p:spPr bwMode="auto">
            <a:xfrm>
              <a:off x="5737209" y="4407918"/>
              <a:ext cx="482842"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Alabama</a:t>
              </a:r>
            </a:p>
          </p:txBody>
        </p:sp>
        <p:sp>
          <p:nvSpPr>
            <p:cNvPr id="95311" name="Tekstboks 501"/>
            <p:cNvSpPr txBox="1">
              <a:spLocks noChangeArrowheads="1"/>
            </p:cNvSpPr>
            <p:nvPr/>
          </p:nvSpPr>
          <p:spPr bwMode="auto">
            <a:xfrm>
              <a:off x="5555338" y="3937800"/>
              <a:ext cx="548582"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Tennessee</a:t>
              </a:r>
            </a:p>
          </p:txBody>
        </p:sp>
        <p:sp>
          <p:nvSpPr>
            <p:cNvPr id="95312" name="Tekstboks 502"/>
            <p:cNvSpPr txBox="1">
              <a:spLocks noChangeArrowheads="1"/>
            </p:cNvSpPr>
            <p:nvPr/>
          </p:nvSpPr>
          <p:spPr bwMode="auto">
            <a:xfrm>
              <a:off x="5634619" y="2655020"/>
              <a:ext cx="49822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Michigan</a:t>
              </a:r>
            </a:p>
          </p:txBody>
        </p:sp>
        <p:sp>
          <p:nvSpPr>
            <p:cNvPr id="95313" name="Tekstboks 503"/>
            <p:cNvSpPr txBox="1">
              <a:spLocks noChangeArrowheads="1"/>
            </p:cNvSpPr>
            <p:nvPr/>
          </p:nvSpPr>
          <p:spPr bwMode="auto">
            <a:xfrm>
              <a:off x="6399750" y="2865281"/>
              <a:ext cx="639500"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Pennsylvania</a:t>
              </a:r>
            </a:p>
          </p:txBody>
        </p:sp>
        <p:sp>
          <p:nvSpPr>
            <p:cNvPr id="95314" name="Tekstboks 504"/>
            <p:cNvSpPr txBox="1">
              <a:spLocks noChangeArrowheads="1"/>
            </p:cNvSpPr>
            <p:nvPr/>
          </p:nvSpPr>
          <p:spPr bwMode="auto">
            <a:xfrm>
              <a:off x="6711485" y="2487212"/>
              <a:ext cx="509418"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New York</a:t>
              </a:r>
            </a:p>
          </p:txBody>
        </p:sp>
        <p:sp>
          <p:nvSpPr>
            <p:cNvPr id="95315" name="Tekstboks 505"/>
            <p:cNvSpPr txBox="1">
              <a:spLocks noChangeArrowheads="1"/>
            </p:cNvSpPr>
            <p:nvPr/>
          </p:nvSpPr>
          <p:spPr bwMode="auto">
            <a:xfrm>
              <a:off x="6839763" y="2010745"/>
              <a:ext cx="482842"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Vermont</a:t>
              </a:r>
            </a:p>
          </p:txBody>
        </p:sp>
        <p:sp>
          <p:nvSpPr>
            <p:cNvPr id="95316" name="Tekstboks 506"/>
            <p:cNvSpPr txBox="1">
              <a:spLocks noChangeArrowheads="1"/>
            </p:cNvSpPr>
            <p:nvPr/>
          </p:nvSpPr>
          <p:spPr bwMode="auto">
            <a:xfrm>
              <a:off x="6197837" y="4314052"/>
              <a:ext cx="44647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Georgia</a:t>
              </a:r>
            </a:p>
          </p:txBody>
        </p:sp>
        <p:sp>
          <p:nvSpPr>
            <p:cNvPr id="95317" name="Tekstboks 507"/>
            <p:cNvSpPr txBox="1">
              <a:spLocks noChangeArrowheads="1"/>
            </p:cNvSpPr>
            <p:nvPr/>
          </p:nvSpPr>
          <p:spPr bwMode="auto">
            <a:xfrm>
              <a:off x="6687528" y="5007621"/>
              <a:ext cx="41290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Florida</a:t>
              </a:r>
            </a:p>
          </p:txBody>
        </p:sp>
        <p:sp>
          <p:nvSpPr>
            <p:cNvPr id="95318" name="Tekstboks 508"/>
            <p:cNvSpPr txBox="1">
              <a:spLocks noChangeArrowheads="1"/>
            </p:cNvSpPr>
            <p:nvPr/>
          </p:nvSpPr>
          <p:spPr bwMode="auto">
            <a:xfrm>
              <a:off x="5253794" y="4372719"/>
              <a:ext cx="55697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Mississippi</a:t>
              </a:r>
            </a:p>
          </p:txBody>
        </p:sp>
        <p:sp>
          <p:nvSpPr>
            <p:cNvPr id="95319" name="Tekstboks 509"/>
            <p:cNvSpPr txBox="1">
              <a:spLocks noChangeArrowheads="1"/>
            </p:cNvSpPr>
            <p:nvPr/>
          </p:nvSpPr>
          <p:spPr bwMode="auto">
            <a:xfrm>
              <a:off x="5764544" y="3652038"/>
              <a:ext cx="495431"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Kentucky</a:t>
              </a:r>
            </a:p>
          </p:txBody>
        </p:sp>
        <p:sp>
          <p:nvSpPr>
            <p:cNvPr id="95320" name="Tekstboks 510"/>
            <p:cNvSpPr txBox="1">
              <a:spLocks noChangeArrowheads="1"/>
            </p:cNvSpPr>
            <p:nvPr/>
          </p:nvSpPr>
          <p:spPr bwMode="auto">
            <a:xfrm>
              <a:off x="6475649" y="4022022"/>
              <a:ext cx="695449"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South Carolina</a:t>
              </a:r>
            </a:p>
          </p:txBody>
        </p:sp>
        <p:sp>
          <p:nvSpPr>
            <p:cNvPr id="95321" name="Tekstboks 511"/>
            <p:cNvSpPr txBox="1">
              <a:spLocks noChangeArrowheads="1"/>
            </p:cNvSpPr>
            <p:nvPr/>
          </p:nvSpPr>
          <p:spPr bwMode="auto">
            <a:xfrm>
              <a:off x="6626172" y="3693605"/>
              <a:ext cx="695449"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North Carolina</a:t>
              </a:r>
            </a:p>
          </p:txBody>
        </p:sp>
        <p:sp>
          <p:nvSpPr>
            <p:cNvPr id="95322" name="Tekstboks 512"/>
            <p:cNvSpPr txBox="1">
              <a:spLocks noChangeArrowheads="1"/>
            </p:cNvSpPr>
            <p:nvPr/>
          </p:nvSpPr>
          <p:spPr bwMode="auto">
            <a:xfrm>
              <a:off x="7096083" y="3208497"/>
              <a:ext cx="512215"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Maryland</a:t>
              </a:r>
            </a:p>
          </p:txBody>
        </p:sp>
        <p:sp>
          <p:nvSpPr>
            <p:cNvPr id="95323" name="Tekstboks 513"/>
            <p:cNvSpPr txBox="1">
              <a:spLocks noChangeArrowheads="1"/>
            </p:cNvSpPr>
            <p:nvPr/>
          </p:nvSpPr>
          <p:spPr bwMode="auto">
            <a:xfrm>
              <a:off x="6018057" y="3088688"/>
              <a:ext cx="335976"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Ohio</a:t>
              </a:r>
            </a:p>
          </p:txBody>
        </p:sp>
        <p:sp>
          <p:nvSpPr>
            <p:cNvPr id="95324" name="Tekstboks 514"/>
            <p:cNvSpPr txBox="1">
              <a:spLocks noChangeArrowheads="1"/>
            </p:cNvSpPr>
            <p:nvPr/>
          </p:nvSpPr>
          <p:spPr bwMode="auto">
            <a:xfrm>
              <a:off x="7111022" y="3069018"/>
              <a:ext cx="508019" cy="17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Delaware</a:t>
              </a:r>
            </a:p>
          </p:txBody>
        </p:sp>
      </p:grpSp>
      <p:grpSp>
        <p:nvGrpSpPr>
          <p:cNvPr id="95236" name="Group 475"/>
          <p:cNvGrpSpPr>
            <a:grpSpLocks/>
          </p:cNvGrpSpPr>
          <p:nvPr/>
        </p:nvGrpSpPr>
        <p:grpSpPr bwMode="auto">
          <a:xfrm>
            <a:off x="6815137" y="1255714"/>
            <a:ext cx="3532710" cy="2071687"/>
            <a:chOff x="5405460" y="336164"/>
            <a:chExt cx="4228821" cy="2479289"/>
          </a:xfrm>
        </p:grpSpPr>
        <p:sp>
          <p:nvSpPr>
            <p:cNvPr id="95276" name="Tekstboks 516"/>
            <p:cNvSpPr txBox="1">
              <a:spLocks noChangeArrowheads="1"/>
            </p:cNvSpPr>
            <p:nvPr/>
          </p:nvSpPr>
          <p:spPr bwMode="auto">
            <a:xfrm>
              <a:off x="6063278" y="2474142"/>
              <a:ext cx="595102"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Indiana</a:t>
              </a:r>
            </a:p>
          </p:txBody>
        </p:sp>
        <p:sp>
          <p:nvSpPr>
            <p:cNvPr id="95277" name="Tekstboks 517"/>
            <p:cNvSpPr txBox="1">
              <a:spLocks noChangeArrowheads="1"/>
            </p:cNvSpPr>
            <p:nvPr/>
          </p:nvSpPr>
          <p:spPr bwMode="auto">
            <a:xfrm>
              <a:off x="7066470" y="2346942"/>
              <a:ext cx="600857" cy="405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West </a:t>
              </a:r>
            </a:p>
            <a:p>
              <a:pPr eaLnBrk="1" hangingPunct="1"/>
              <a:r>
                <a:rPr lang="da-DK" altLang="en-US" sz="800">
                  <a:solidFill>
                    <a:srgbClr val="000000"/>
                  </a:solidFill>
                </a:rPr>
                <a:t>Virginia</a:t>
              </a:r>
            </a:p>
          </p:txBody>
        </p:sp>
        <p:sp>
          <p:nvSpPr>
            <p:cNvPr id="95278" name="Tekstboks 518"/>
            <p:cNvSpPr txBox="1">
              <a:spLocks noChangeArrowheads="1"/>
            </p:cNvSpPr>
            <p:nvPr/>
          </p:nvSpPr>
          <p:spPr bwMode="auto">
            <a:xfrm>
              <a:off x="8155442" y="1812639"/>
              <a:ext cx="783109"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New Jersey</a:t>
              </a:r>
            </a:p>
          </p:txBody>
        </p:sp>
        <p:sp>
          <p:nvSpPr>
            <p:cNvPr id="95279" name="Tekstboks 519"/>
            <p:cNvSpPr txBox="1">
              <a:spLocks noChangeArrowheads="1"/>
            </p:cNvSpPr>
            <p:nvPr/>
          </p:nvSpPr>
          <p:spPr bwMode="auto">
            <a:xfrm>
              <a:off x="8297041" y="1436314"/>
              <a:ext cx="821479"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Connecticut</a:t>
              </a:r>
            </a:p>
          </p:txBody>
        </p:sp>
        <p:sp>
          <p:nvSpPr>
            <p:cNvPr id="95280" name="Tekstboks 520"/>
            <p:cNvSpPr txBox="1">
              <a:spLocks noChangeArrowheads="1"/>
            </p:cNvSpPr>
            <p:nvPr/>
          </p:nvSpPr>
          <p:spPr bwMode="auto">
            <a:xfrm>
              <a:off x="8672543" y="1126061"/>
              <a:ext cx="961738" cy="257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Massachusetts</a:t>
              </a:r>
            </a:p>
          </p:txBody>
        </p:sp>
        <p:sp>
          <p:nvSpPr>
            <p:cNvPr id="95281" name="Tekstboks 521"/>
            <p:cNvSpPr txBox="1">
              <a:spLocks noChangeArrowheads="1"/>
            </p:cNvSpPr>
            <p:nvPr/>
          </p:nvSpPr>
          <p:spPr bwMode="auto">
            <a:xfrm>
              <a:off x="8439839" y="336164"/>
              <a:ext cx="541386"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Maine</a:t>
              </a:r>
            </a:p>
          </p:txBody>
        </p:sp>
        <p:sp>
          <p:nvSpPr>
            <p:cNvPr id="95282" name="Tekstboks 522"/>
            <p:cNvSpPr txBox="1">
              <a:spLocks noChangeArrowheads="1"/>
            </p:cNvSpPr>
            <p:nvPr/>
          </p:nvSpPr>
          <p:spPr bwMode="auto">
            <a:xfrm>
              <a:off x="8572008" y="1315431"/>
              <a:ext cx="869632" cy="257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Rhode Island</a:t>
              </a:r>
            </a:p>
          </p:txBody>
        </p:sp>
        <p:sp>
          <p:nvSpPr>
            <p:cNvPr id="95283" name="Tekstboks 523"/>
            <p:cNvSpPr txBox="1">
              <a:spLocks noChangeArrowheads="1"/>
            </p:cNvSpPr>
            <p:nvPr/>
          </p:nvSpPr>
          <p:spPr bwMode="auto">
            <a:xfrm>
              <a:off x="7652157" y="2557530"/>
              <a:ext cx="600857"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a:solidFill>
                    <a:srgbClr val="000000"/>
                  </a:solidFill>
                </a:rPr>
                <a:t>Virginia</a:t>
              </a:r>
            </a:p>
          </p:txBody>
        </p:sp>
        <p:sp>
          <p:nvSpPr>
            <p:cNvPr id="95284" name="Tekstboks 524"/>
            <p:cNvSpPr txBox="1">
              <a:spLocks noChangeArrowheads="1"/>
            </p:cNvSpPr>
            <p:nvPr/>
          </p:nvSpPr>
          <p:spPr bwMode="auto">
            <a:xfrm>
              <a:off x="8284444" y="791693"/>
              <a:ext cx="1020998" cy="25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New Hampshire</a:t>
              </a:r>
            </a:p>
          </p:txBody>
        </p:sp>
        <p:sp>
          <p:nvSpPr>
            <p:cNvPr id="95285" name="Tekstboks 525"/>
            <p:cNvSpPr txBox="1">
              <a:spLocks noChangeArrowheads="1"/>
            </p:cNvSpPr>
            <p:nvPr/>
          </p:nvSpPr>
          <p:spPr bwMode="auto">
            <a:xfrm>
              <a:off x="5405460" y="665819"/>
              <a:ext cx="1107571" cy="405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da-DK" altLang="en-US" sz="800" dirty="0">
                  <a:solidFill>
                    <a:srgbClr val="000000"/>
                  </a:solidFill>
                </a:rPr>
                <a:t>Michigan</a:t>
              </a:r>
            </a:p>
            <a:p>
              <a:pPr eaLnBrk="1" hangingPunct="1"/>
              <a:r>
                <a:rPr lang="da-DK" altLang="en-US" sz="800" dirty="0">
                  <a:solidFill>
                    <a:srgbClr val="000000"/>
                  </a:solidFill>
                </a:rPr>
                <a:t>(upper peninsula)</a:t>
              </a:r>
            </a:p>
          </p:txBody>
        </p:sp>
      </p:grpSp>
      <p:sp>
        <p:nvSpPr>
          <p:cNvPr id="2" name="TextBox 1">
            <a:extLst>
              <a:ext uri="{FF2B5EF4-FFF2-40B4-BE49-F238E27FC236}">
                <a16:creationId xmlns:a16="http://schemas.microsoft.com/office/drawing/2014/main" id="{ED3371BB-4B50-4E7B-B275-F0F0B8169272}"/>
              </a:ext>
            </a:extLst>
          </p:cNvPr>
          <p:cNvSpPr txBox="1"/>
          <p:nvPr/>
        </p:nvSpPr>
        <p:spPr>
          <a:xfrm>
            <a:off x="780569" y="1146895"/>
            <a:ext cx="705099" cy="276999"/>
          </a:xfrm>
          <a:prstGeom prst="rect">
            <a:avLst/>
          </a:prstGeom>
          <a:solidFill>
            <a:srgbClr val="FFC000"/>
          </a:solidFill>
        </p:spPr>
        <p:txBody>
          <a:bodyPr wrap="square" rtlCol="0">
            <a:spAutoFit/>
          </a:bodyPr>
          <a:lstStyle/>
          <a:p>
            <a:r>
              <a:rPr lang="en-US" sz="1200" dirty="0"/>
              <a:t>Alaska</a:t>
            </a:r>
          </a:p>
        </p:txBody>
      </p:sp>
      <p:sp>
        <p:nvSpPr>
          <p:cNvPr id="503" name="TextBox 502">
            <a:extLst>
              <a:ext uri="{FF2B5EF4-FFF2-40B4-BE49-F238E27FC236}">
                <a16:creationId xmlns:a16="http://schemas.microsoft.com/office/drawing/2014/main" id="{D31EF376-5A99-4871-935E-DE8C41D11A97}"/>
              </a:ext>
            </a:extLst>
          </p:cNvPr>
          <p:cNvSpPr txBox="1"/>
          <p:nvPr/>
        </p:nvSpPr>
        <p:spPr>
          <a:xfrm>
            <a:off x="784511" y="4804040"/>
            <a:ext cx="705099" cy="276999"/>
          </a:xfrm>
          <a:prstGeom prst="rect">
            <a:avLst/>
          </a:prstGeom>
          <a:solidFill>
            <a:srgbClr val="FFC000"/>
          </a:solidFill>
        </p:spPr>
        <p:txBody>
          <a:bodyPr wrap="square" rtlCol="0">
            <a:spAutoFit/>
          </a:bodyPr>
          <a:lstStyle/>
          <a:p>
            <a:r>
              <a:rPr lang="en-US" sz="1200" dirty="0"/>
              <a:t>Hawaii</a:t>
            </a:r>
          </a:p>
        </p:txBody>
      </p:sp>
      <p:sp>
        <p:nvSpPr>
          <p:cNvPr id="3" name="TextBox 2">
            <a:extLst>
              <a:ext uri="{FF2B5EF4-FFF2-40B4-BE49-F238E27FC236}">
                <a16:creationId xmlns:a16="http://schemas.microsoft.com/office/drawing/2014/main" id="{59ACFF84-71D0-9362-8A77-609990DF80BC}"/>
              </a:ext>
            </a:extLst>
          </p:cNvPr>
          <p:cNvSpPr txBox="1"/>
          <p:nvPr/>
        </p:nvSpPr>
        <p:spPr>
          <a:xfrm>
            <a:off x="535345" y="2976083"/>
            <a:ext cx="1203432" cy="369332"/>
          </a:xfrm>
          <a:prstGeom prst="rect">
            <a:avLst/>
          </a:prstGeom>
          <a:solidFill>
            <a:srgbClr val="FFC000"/>
          </a:solidFill>
        </p:spPr>
        <p:txBody>
          <a:bodyPr wrap="square" rtlCol="0">
            <a:spAutoFit/>
          </a:bodyPr>
          <a:lstStyle/>
          <a:p>
            <a:pPr algn="ctr"/>
            <a:r>
              <a:rPr lang="en-US" dirty="0" err="1"/>
              <a:t>WestPac</a:t>
            </a:r>
            <a:endParaRPr lang="en-US" dirty="0"/>
          </a:p>
        </p:txBody>
      </p:sp>
      <p:sp>
        <p:nvSpPr>
          <p:cNvPr id="4" name="TextBox 3">
            <a:extLst>
              <a:ext uri="{FF2B5EF4-FFF2-40B4-BE49-F238E27FC236}">
                <a16:creationId xmlns:a16="http://schemas.microsoft.com/office/drawing/2014/main" id="{B44F5DD2-1674-EC9B-A858-596A57A51871}"/>
              </a:ext>
            </a:extLst>
          </p:cNvPr>
          <p:cNvSpPr txBox="1"/>
          <p:nvPr/>
        </p:nvSpPr>
        <p:spPr>
          <a:xfrm>
            <a:off x="6290777" y="964030"/>
            <a:ext cx="1203432" cy="369332"/>
          </a:xfrm>
          <a:prstGeom prst="rect">
            <a:avLst/>
          </a:prstGeom>
          <a:solidFill>
            <a:srgbClr val="95B3D7"/>
          </a:solidFill>
        </p:spPr>
        <p:txBody>
          <a:bodyPr wrap="square" rtlCol="0">
            <a:spAutoFit/>
          </a:bodyPr>
          <a:lstStyle/>
          <a:p>
            <a:pPr algn="ctr"/>
            <a:r>
              <a:rPr lang="en-US" dirty="0"/>
              <a:t>Central</a:t>
            </a:r>
          </a:p>
        </p:txBody>
      </p:sp>
      <p:sp>
        <p:nvSpPr>
          <p:cNvPr id="5" name="TextBox 4">
            <a:extLst>
              <a:ext uri="{FF2B5EF4-FFF2-40B4-BE49-F238E27FC236}">
                <a16:creationId xmlns:a16="http://schemas.microsoft.com/office/drawing/2014/main" id="{A9B06D7B-085A-48B8-2097-C3FBFBA5B21D}"/>
              </a:ext>
            </a:extLst>
          </p:cNvPr>
          <p:cNvSpPr txBox="1"/>
          <p:nvPr/>
        </p:nvSpPr>
        <p:spPr>
          <a:xfrm>
            <a:off x="10006099" y="2512582"/>
            <a:ext cx="1203432" cy="369332"/>
          </a:xfrm>
          <a:prstGeom prst="rect">
            <a:avLst/>
          </a:prstGeom>
          <a:solidFill>
            <a:srgbClr val="92D050"/>
          </a:solidFill>
        </p:spPr>
        <p:txBody>
          <a:bodyPr wrap="square" rtlCol="0">
            <a:spAutoFit/>
          </a:bodyPr>
          <a:lstStyle/>
          <a:p>
            <a:pPr algn="ctr"/>
            <a:r>
              <a:rPr lang="en-US" dirty="0"/>
              <a:t>Atlantic</a:t>
            </a:r>
          </a:p>
        </p:txBody>
      </p:sp>
      <p:sp>
        <p:nvSpPr>
          <p:cNvPr id="7" name="TextBox 6">
            <a:extLst>
              <a:ext uri="{FF2B5EF4-FFF2-40B4-BE49-F238E27FC236}">
                <a16:creationId xmlns:a16="http://schemas.microsoft.com/office/drawing/2014/main" id="{1E7E5253-9245-3929-7A7D-80212C604CDB}"/>
              </a:ext>
            </a:extLst>
          </p:cNvPr>
          <p:cNvSpPr txBox="1"/>
          <p:nvPr/>
        </p:nvSpPr>
        <p:spPr>
          <a:xfrm>
            <a:off x="6923308" y="5682144"/>
            <a:ext cx="1203432" cy="369332"/>
          </a:xfrm>
          <a:prstGeom prst="rect">
            <a:avLst/>
          </a:prstGeom>
          <a:solidFill>
            <a:srgbClr val="F4B183"/>
          </a:solidFill>
        </p:spPr>
        <p:txBody>
          <a:bodyPr wrap="square" rtlCol="0">
            <a:spAutoFit/>
          </a:bodyPr>
          <a:lstStyle/>
          <a:p>
            <a:pPr algn="ctr"/>
            <a:r>
              <a:rPr lang="en-US" dirty="0"/>
              <a:t>Southern</a:t>
            </a:r>
          </a:p>
        </p:txBody>
      </p:sp>
      <p:sp>
        <p:nvSpPr>
          <p:cNvPr id="8" name="Title Placeholder 1">
            <a:extLst>
              <a:ext uri="{FF2B5EF4-FFF2-40B4-BE49-F238E27FC236}">
                <a16:creationId xmlns:a16="http://schemas.microsoft.com/office/drawing/2014/main" id="{BCF2F316-A1CA-C482-12B1-7FAAB2F4C2F8}"/>
              </a:ext>
            </a:extLst>
          </p:cNvPr>
          <p:cNvSpPr txBox="1">
            <a:spLocks/>
          </p:cNvSpPr>
          <p:nvPr/>
        </p:nvSpPr>
        <p:spPr>
          <a:xfrm>
            <a:off x="135402" y="35829"/>
            <a:ext cx="11412164" cy="687781"/>
          </a:xfrm>
          <a:prstGeom prst="rect">
            <a:avLst/>
          </a:prstGeom>
        </p:spPr>
        <p:txBody>
          <a:bodyPr vert="horz" lIns="91344" tIns="45672" rIns="91344" bIns="45672"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marL="0" marR="0" lvl="1" indent="-228600" algn="r" defTabSz="914400" rtl="0" eaLnBrk="1" fontAlgn="base" latinLnBrk="0" hangingPunct="1">
              <a:lnSpc>
                <a:spcPct val="90000"/>
              </a:lnSpc>
              <a:spcBef>
                <a:spcPts val="1200"/>
              </a:spcBef>
              <a:spcAft>
                <a:spcPts val="600"/>
              </a:spcAft>
              <a:buClr>
                <a:srgbClr val="000000"/>
              </a:buClr>
              <a:buSzTx/>
              <a:buFontTx/>
              <a:buNone/>
              <a:tabLst/>
              <a:defRPr/>
            </a:pPr>
            <a:r>
              <a:rPr kumimoji="0" lang="en-US" sz="2800" b="1" i="0" u="none" strike="noStrike" kern="1200" cap="none" spc="0" normalizeH="0" baseline="0" noProof="0" dirty="0">
                <a:ln>
                  <a:noFill/>
                </a:ln>
                <a:solidFill>
                  <a:srgbClr val="304E96"/>
                </a:solidFill>
                <a:effectLst/>
                <a:uLnTx/>
                <a:uFillTx/>
                <a:latin typeface="Arial"/>
                <a:ea typeface="+mn-ea"/>
                <a:cs typeface="Arial"/>
              </a:rPr>
              <a:t>USPS - Areas and Districts Map</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6E62B7F-CE11-4847-8A62-090841A96900}"/>
              </a:ext>
            </a:extLst>
          </p:cNvPr>
          <p:cNvSpPr txBox="1">
            <a:spLocks/>
          </p:cNvSpPr>
          <p:nvPr/>
        </p:nvSpPr>
        <p:spPr>
          <a:xfrm>
            <a:off x="1884530" y="1880348"/>
            <a:ext cx="5988089" cy="2933526"/>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0">
              <a:defRPr/>
            </a:pPr>
            <a:r>
              <a:rPr lang="en-US" dirty="0">
                <a:latin typeface="Arial"/>
                <a:cs typeface="Arial"/>
              </a:rPr>
              <a:t>Election Mail Security</a:t>
            </a:r>
          </a:p>
          <a:p>
            <a:pPr lvl="0">
              <a:defRPr/>
            </a:pPr>
            <a:endParaRPr lang="en-US" sz="2400" dirty="0">
              <a:solidFill>
                <a:prstClr val="white"/>
              </a:solidFill>
            </a:endParaRPr>
          </a:p>
          <a:p>
            <a:pPr>
              <a:defRPr/>
            </a:pPr>
            <a:endParaRPr lang="en-US" sz="200" dirty="0">
              <a:solidFill>
                <a:prstClr val="white"/>
              </a:solidFill>
            </a:endParaRPr>
          </a:p>
        </p:txBody>
      </p:sp>
    </p:spTree>
    <p:extLst>
      <p:ext uri="{BB962C8B-B14F-4D97-AF65-F5344CB8AC3E}">
        <p14:creationId xmlns:p14="http://schemas.microsoft.com/office/powerpoint/2010/main" val="3841815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86C5E2E4-DA1B-4983-8AA9-11E64B954D8D}"/>
              </a:ext>
            </a:extLst>
          </p:cNvPr>
          <p:cNvSpPr txBox="1">
            <a:spLocks/>
          </p:cNvSpPr>
          <p:nvPr/>
        </p:nvSpPr>
        <p:spPr>
          <a:xfrm>
            <a:off x="6536388" y="0"/>
            <a:ext cx="5055390" cy="648506"/>
          </a:xfrm>
          <a:prstGeom prst="rect">
            <a:avLst/>
          </a:prstGeom>
        </p:spPr>
        <p:txBody>
          <a:bodyPr vert="horz" lIns="91368" tIns="45684" rIns="91368" bIns="45684" rtlCol="0" anchor="ctr">
            <a:noAutofit/>
          </a:bodyPr>
          <a:lstStyle>
            <a:lvl1pPr algn="r" defTabSz="914400" rtl="0" eaLnBrk="1" latinLnBrk="0" hangingPunct="1">
              <a:lnSpc>
                <a:spcPct val="90000"/>
              </a:lnSpc>
              <a:spcBef>
                <a:spcPct val="0"/>
              </a:spcBef>
              <a:buNone/>
              <a:defRPr sz="2400" b="1" kern="1200">
                <a:solidFill>
                  <a:srgbClr val="304E96"/>
                </a:solidFill>
                <a:effectLst>
                  <a:outerShdw blurRad="38100" dist="38100" dir="2700000" algn="tl">
                    <a:srgbClr val="000000">
                      <a:alpha val="43137"/>
                    </a:srgbClr>
                  </a:outerShdw>
                </a:effectLst>
                <a:latin typeface="+mn-lt"/>
                <a:ea typeface="+mj-ea"/>
                <a:cs typeface="+mj-cs"/>
              </a:defRPr>
            </a:lvl1pPr>
          </a:lstStyle>
          <a:p>
            <a:pPr defTabSz="913852"/>
            <a:r>
              <a:rPr lang="en-US" sz="2800" dirty="0">
                <a:solidFill>
                  <a:srgbClr val="005A92"/>
                </a:solidFill>
                <a:effectLst/>
                <a:latin typeface="Arial"/>
                <a:cs typeface="Arial"/>
              </a:rPr>
              <a:t>Election Mail Security</a:t>
            </a:r>
            <a:endParaRPr lang="en-US" sz="2398" dirty="0">
              <a:solidFill>
                <a:srgbClr val="005A92"/>
              </a:solidFill>
              <a:effectLst/>
              <a:latin typeface="Arial"/>
              <a:cs typeface="Arial"/>
            </a:endParaRPr>
          </a:p>
        </p:txBody>
      </p:sp>
      <p:sp>
        <p:nvSpPr>
          <p:cNvPr id="4" name="Rectangle 3">
            <a:extLst>
              <a:ext uri="{FF2B5EF4-FFF2-40B4-BE49-F238E27FC236}">
                <a16:creationId xmlns:a16="http://schemas.microsoft.com/office/drawing/2014/main" id="{F6852218-030A-8DF0-47D7-0D44053D0490}"/>
              </a:ext>
            </a:extLst>
          </p:cNvPr>
          <p:cNvSpPr/>
          <p:nvPr/>
        </p:nvSpPr>
        <p:spPr>
          <a:xfrm>
            <a:off x="400943" y="756330"/>
            <a:ext cx="1139011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US" sz="2400" b="1" i="0" u="none" strike="noStrike" kern="1200" cap="none" spc="0" normalizeH="0" baseline="0" noProof="0" dirty="0">
                <a:ln>
                  <a:noFill/>
                </a:ln>
                <a:solidFill>
                  <a:srgbClr val="304E96"/>
                </a:solidFill>
                <a:effectLst/>
                <a:uLnTx/>
                <a:uFillTx/>
                <a:latin typeface="Arial" panose="020B0604020202020204" pitchFamily="34" charset="0"/>
                <a:ea typeface="+mn-ea"/>
                <a:cs typeface="Arial" panose="020B0604020202020204" pitchFamily="34" charset="0"/>
              </a:rPr>
              <a:t>ENSURING THE SECURE DELIVERY OF OUR NATION’S ELECTION MAIL</a:t>
            </a:r>
          </a:p>
        </p:txBody>
      </p:sp>
      <p:sp>
        <p:nvSpPr>
          <p:cNvPr id="6" name="Content Placeholder 2">
            <a:extLst>
              <a:ext uri="{FF2B5EF4-FFF2-40B4-BE49-F238E27FC236}">
                <a16:creationId xmlns:a16="http://schemas.microsoft.com/office/drawing/2014/main" id="{FC66B9B1-310B-A709-61C2-77DCD53940E3}"/>
              </a:ext>
            </a:extLst>
          </p:cNvPr>
          <p:cNvSpPr txBox="1">
            <a:spLocks/>
          </p:cNvSpPr>
          <p:nvPr/>
        </p:nvSpPr>
        <p:spPr>
          <a:xfrm>
            <a:off x="572411" y="2714921"/>
            <a:ext cx="5755817" cy="305950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upports USPS by responding to customer and partner driven election related security questions and incidents</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including those reported by customers (boards of election and voters).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oordinates closely with federal, state and local partner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n election security table-top exercises, planning meetings and other events on an ongoing basis.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perates a 24hr law enforcement reporting line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or election officials. (877)876-2455 (please select #4).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riages reports of election mail security and criminal incident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rom election officials throughout election cycles.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onitors the postal network for election mail related issue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ncluding potential unauthorized delay, delivery, and changes of address related to election mail.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Works with state and federal law enforcement authoritie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support election offense investigations. </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F477B24B-F064-ED7E-6C67-83DE21461A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9959" y="1293645"/>
            <a:ext cx="1389515" cy="1389515"/>
          </a:xfrm>
          <a:prstGeom prst="rect">
            <a:avLst/>
          </a:prstGeom>
        </p:spPr>
      </p:pic>
      <p:sp>
        <p:nvSpPr>
          <p:cNvPr id="8" name="TextBox 7">
            <a:extLst>
              <a:ext uri="{FF2B5EF4-FFF2-40B4-BE49-F238E27FC236}">
                <a16:creationId xmlns:a16="http://schemas.microsoft.com/office/drawing/2014/main" id="{5D7BF712-D563-04F1-5F2E-FD85BB8410E0}"/>
              </a:ext>
            </a:extLst>
          </p:cNvPr>
          <p:cNvSpPr txBox="1"/>
          <p:nvPr/>
        </p:nvSpPr>
        <p:spPr>
          <a:xfrm>
            <a:off x="6638925" y="2714921"/>
            <a:ext cx="5152132" cy="2726900"/>
          </a:xfrm>
          <a:prstGeom prst="rect">
            <a:avLst/>
          </a:prstGeom>
          <a:noFill/>
        </p:spPr>
        <p:txBody>
          <a:bodyPr wrap="square">
            <a:spAutoFit/>
          </a:bodyPr>
          <a:lstStyle/>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nitoring and oversight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the Postal Service’s ability to timely process and deliver Election Mail. </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oordinates closely with federal, state and local partner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n election security table-top exercises, planning meetings and other events on an ongoing basis. </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duct site visits to observe and monitor operation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postal facilities around the country.</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ed focus on protecting the integrity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political and election mailings.</a:t>
            </a:r>
          </a:p>
          <a:p>
            <a:pPr marL="173038" marR="0" lvl="0" indent="-173038"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s with state and federal law enforcement authoritie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support election offense investigations involving USPS employees</a:t>
            </a:r>
          </a:p>
        </p:txBody>
      </p:sp>
      <p:pic>
        <p:nvPicPr>
          <p:cNvPr id="10" name="Picture 9">
            <a:extLst>
              <a:ext uri="{FF2B5EF4-FFF2-40B4-BE49-F238E27FC236}">
                <a16:creationId xmlns:a16="http://schemas.microsoft.com/office/drawing/2014/main" id="{1E95EFA7-7F82-65F4-0C65-F905340517E6}"/>
              </a:ext>
            </a:extLst>
          </p:cNvPr>
          <p:cNvPicPr>
            <a:picLocks noChangeAspect="1"/>
          </p:cNvPicPr>
          <p:nvPr/>
        </p:nvPicPr>
        <p:blipFill>
          <a:blip r:embed="rId4"/>
          <a:stretch>
            <a:fillRect/>
          </a:stretch>
        </p:blipFill>
        <p:spPr>
          <a:xfrm>
            <a:off x="8582527" y="1356112"/>
            <a:ext cx="996902" cy="1250985"/>
          </a:xfrm>
          <a:prstGeom prst="rect">
            <a:avLst/>
          </a:prstGeom>
        </p:spPr>
      </p:pic>
      <p:sp>
        <p:nvSpPr>
          <p:cNvPr id="2" name="Slide Number Placeholder 1">
            <a:extLst>
              <a:ext uri="{FF2B5EF4-FFF2-40B4-BE49-F238E27FC236}">
                <a16:creationId xmlns:a16="http://schemas.microsoft.com/office/drawing/2014/main" id="{14261658-98CD-E849-5E99-0DBB013E73FD}"/>
              </a:ext>
            </a:extLst>
          </p:cNvPr>
          <p:cNvSpPr>
            <a:spLocks noGrp="1"/>
          </p:cNvSpPr>
          <p:nvPr>
            <p:ph type="sldNum" sz="quarter" idx="7"/>
          </p:nvPr>
        </p:nvSpPr>
        <p:spPr>
          <a:xfrm>
            <a:off x="11407812" y="6475228"/>
            <a:ext cx="645041" cy="382773"/>
          </a:xfrm>
          <a:prstGeom prst="rect">
            <a:avLst/>
          </a:prstGeom>
        </p:spPr>
        <p:txBody>
          <a:bodyPr vert="horz" lIns="0" tIns="0" rIns="0" bIns="0" rtlCol="0" anchor="ctr"/>
          <a:lstStyle>
            <a:defPPr>
              <a:defRPr lang="en-US"/>
            </a:defPPr>
            <a:lvl1pPr marL="0" algn="r" defTabSz="914400" rtl="0" eaLnBrk="1" latinLnBrk="0" hangingPunct="1">
              <a:defRPr sz="120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240"/>
              </a:lnSpc>
            </a:pPr>
            <a:fld id="{81D60167-4931-47E6-BA6A-407CBD079E47}" type="slidenum">
              <a:rPr lang="en-US" smtClean="0"/>
              <a:pPr marL="25400">
                <a:lnSpc>
                  <a:spcPts val="1240"/>
                </a:lnSpc>
              </a:pPr>
              <a:t>9</a:t>
            </a:fld>
            <a:endParaRPr lang="en-US" dirty="0"/>
          </a:p>
        </p:txBody>
      </p:sp>
    </p:spTree>
    <p:extLst>
      <p:ext uri="{BB962C8B-B14F-4D97-AF65-F5344CB8AC3E}">
        <p14:creationId xmlns:p14="http://schemas.microsoft.com/office/powerpoint/2010/main" val="1768466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FS Adoption Steering Committee--Status Updates 2.22.2012 v3">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lank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AF33DD8CDB7E04B81FBB6B1B98DD30E" ma:contentTypeVersion="6" ma:contentTypeDescription="Create a new document." ma:contentTypeScope="" ma:versionID="eb2881aa2ea484eb072e347950db637f">
  <xsd:schema xmlns:xsd="http://www.w3.org/2001/XMLSchema" xmlns:xs="http://www.w3.org/2001/XMLSchema" xmlns:p="http://schemas.microsoft.com/office/2006/metadata/properties" xmlns:ns1="http://schemas.microsoft.com/sharepoint/v3" xmlns:ns2="fb870478-173d-4b3b-8f08-12acdae2a0d4" xmlns:ns3="2050034a-216c-41c1-b59d-17f07942f0de" targetNamespace="http://schemas.microsoft.com/office/2006/metadata/properties" ma:root="true" ma:fieldsID="3709bac3ede6baafa983cebc792306ff" ns1:_="" ns2:_="" ns3:_="">
    <xsd:import namespace="http://schemas.microsoft.com/sharepoint/v3"/>
    <xsd:import namespace="fb870478-173d-4b3b-8f08-12acdae2a0d4"/>
    <xsd:import namespace="2050034a-216c-41c1-b59d-17f07942f0de"/>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870478-173d-4b3b-8f08-12acdae2a0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50034a-216c-41c1-b59d-17f07942f0d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24EEE28-AC8E-4C7B-957C-76E348FB6E45}">
  <ds:schemaRefs>
    <ds:schemaRef ds:uri="http://schemas.microsoft.com/sharepoint/v3/contenttype/forms"/>
  </ds:schemaRefs>
</ds:datastoreItem>
</file>

<file path=customXml/itemProps2.xml><?xml version="1.0" encoding="utf-8"?>
<ds:datastoreItem xmlns:ds="http://schemas.openxmlformats.org/officeDocument/2006/customXml" ds:itemID="{7176812E-5463-4DE1-899D-B688346FB9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b870478-173d-4b3b-8f08-12acdae2a0d4"/>
    <ds:schemaRef ds:uri="2050034a-216c-41c1-b59d-17f07942f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09B918-C19D-4B5A-9C3B-32ED92041029}">
  <ds:schemaRefs>
    <ds:schemaRef ds:uri="http://schemas.microsoft.com/sharepoint/v3"/>
    <ds:schemaRef ds:uri="http://purl.org/dc/terms/"/>
    <ds:schemaRef ds:uri="http://schemas.openxmlformats.org/package/2006/metadata/core-properties"/>
    <ds:schemaRef ds:uri="http://purl.org/dc/dcmitype/"/>
    <ds:schemaRef ds:uri="2050034a-216c-41c1-b59d-17f07942f0de"/>
    <ds:schemaRef ds:uri="http://schemas.microsoft.com/office/2006/documentManagement/types"/>
    <ds:schemaRef ds:uri="http://purl.org/dc/elements/1.1/"/>
    <ds:schemaRef ds:uri="http://schemas.microsoft.com/office/2006/metadata/properties"/>
    <ds:schemaRef ds:uri="http://schemas.microsoft.com/office/infopath/2007/PartnerControls"/>
    <ds:schemaRef ds:uri="fb870478-173d-4b3b-8f08-12acdae2a0d4"/>
    <ds:schemaRef ds:uri="http://www.w3.org/XML/1998/namespace"/>
  </ds:schemaRefs>
</ds:datastoreItem>
</file>

<file path=docMetadata/LabelInfo.xml><?xml version="1.0" encoding="utf-8"?>
<clbl:labelList xmlns:clbl="http://schemas.microsoft.com/office/2020/mipLabelMetadata">
  <clbl:label id="{f9aa5788-eb33-4a49-8ad0-76101910cac3}" enabled="0" method="" siteId="{f9aa5788-eb33-4a49-8ad0-76101910cac3}" removed="1"/>
</clbl:labelList>
</file>

<file path=docProps/app.xml><?xml version="1.0" encoding="utf-8"?>
<Properties xmlns="http://schemas.openxmlformats.org/officeDocument/2006/extended-properties" xmlns:vt="http://schemas.openxmlformats.org/officeDocument/2006/docPropsVTypes">
  <TotalTime>34675</TotalTime>
  <Words>2149</Words>
  <Application>Microsoft Office PowerPoint</Application>
  <PresentationFormat>Widescreen</PresentationFormat>
  <Paragraphs>350</Paragraphs>
  <Slides>27</Slides>
  <Notes>27</Notes>
  <HiddenSlides>7</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0" baseType="lpstr">
      <vt:lpstr>Arial</vt:lpstr>
      <vt:lpstr>Calibri</vt:lpstr>
      <vt:lpstr>Calibri Light</vt:lpstr>
      <vt:lpstr>Century Gothic</vt:lpstr>
      <vt:lpstr>Courier New</vt:lpstr>
      <vt:lpstr>HelveticaNeueLT Std Lt</vt:lpstr>
      <vt:lpstr>Rockwell</vt:lpstr>
      <vt:lpstr>Trebuchet MS</vt:lpstr>
      <vt:lpstr>Verdana</vt:lpstr>
      <vt:lpstr>Wingdings</vt:lpstr>
      <vt:lpstr>Office Theme</vt:lpstr>
      <vt:lpstr>1_FS Adoption Steering Committee--Status Updates 2.22.2012 v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ormed Visibility Mail Tracking and Reporting</vt:lpstr>
      <vt:lpstr>PowerPoint Presentation</vt:lpstr>
      <vt:lpstr>PowerPoint Presentation</vt:lpstr>
      <vt:lpstr>PowerPoint Presentation</vt:lpstr>
      <vt:lpstr>PowerPoint Presentation</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M.Bentley@usps.gov</dc:creator>
  <cp:lastModifiedBy>Nussmeyer, Angela M</cp:lastModifiedBy>
  <cp:revision>976</cp:revision>
  <cp:lastPrinted>2023-07-18T20:38:35Z</cp:lastPrinted>
  <dcterms:created xsi:type="dcterms:W3CDTF">2017-07-27T11:24:19Z</dcterms:created>
  <dcterms:modified xsi:type="dcterms:W3CDTF">2023-12-12T15:5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F33DD8CDB7E04B81FBB6B1B98DD30E</vt:lpwstr>
  </property>
</Properties>
</file>